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91" r:id="rId37"/>
  </p:sldMasterIdLst>
  <p:notesMasterIdLst>
    <p:notesMasterId r:id="rId53"/>
  </p:notesMasterIdLst>
  <p:sldIdLst>
    <p:sldId id="328" r:id="rId38"/>
    <p:sldId id="334" r:id="rId39"/>
    <p:sldId id="335" r:id="rId40"/>
    <p:sldId id="336" r:id="rId41"/>
    <p:sldId id="338" r:id="rId42"/>
    <p:sldId id="340" r:id="rId43"/>
    <p:sldId id="341" r:id="rId44"/>
    <p:sldId id="342" r:id="rId45"/>
    <p:sldId id="350" r:id="rId46"/>
    <p:sldId id="344" r:id="rId47"/>
    <p:sldId id="345" r:id="rId48"/>
    <p:sldId id="346" r:id="rId49"/>
    <p:sldId id="347" r:id="rId50"/>
    <p:sldId id="348" r:id="rId51"/>
    <p:sldId id="349" r:id="rId52"/>
  </p:sldIdLst>
  <p:sldSz cx="12192000" cy="6858000"/>
  <p:notesSz cx="6858000" cy="9144000"/>
  <p:embeddedFontLst>
    <p:embeddedFont>
      <p:font typeface="Century Gothic" panose="020B0502020202020204" pitchFamily="34" charset="0"/>
      <p:regular r:id="rId54"/>
      <p:bold r:id="rId55"/>
      <p:italic r:id="rId56"/>
      <p:boldItalic r:id="rId57"/>
    </p:embeddedFont>
    <p:embeddedFont>
      <p:font typeface="Inter" panose="020B0604020202020204" charset="0"/>
      <p:regular r:id="rId58"/>
      <p:bold r:id="rId59"/>
      <p:italic r:id="rId60"/>
      <p:boldItalic r:id="rId61"/>
    </p:embeddedFont>
    <p:embeddedFont>
      <p:font typeface="Lato" panose="020F0502020204030203" pitchFamily="34" charset="0"/>
      <p:regular r:id="rId62"/>
      <p:bold r:id="rId63"/>
      <p:italic r:id="rId64"/>
      <p:boldItalic r:id="rId65"/>
    </p:embeddedFont>
    <p:embeddedFont>
      <p:font typeface="Verdana" panose="020B0604030504040204" pitchFamily="34" charset="0"/>
      <p:regular r:id="rId66"/>
      <p:bold r:id="rId67"/>
      <p:italic r:id="rId68"/>
      <p:boldItalic r:id="rId69"/>
    </p:embeddedFont>
  </p:embeddedFontLst>
  <p:custDataLst>
    <p:tags r:id="rId7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27B164-F783-4E7E-BE96-DBE59726B399}">
          <p14:sldIdLst>
            <p14:sldId id="328"/>
            <p14:sldId id="334"/>
            <p14:sldId id="335"/>
            <p14:sldId id="336"/>
            <p14:sldId id="338"/>
            <p14:sldId id="340"/>
            <p14:sldId id="341"/>
            <p14:sldId id="342"/>
            <p14:sldId id="350"/>
            <p14:sldId id="344"/>
            <p14:sldId id="345"/>
            <p14:sldId id="346"/>
            <p14:sldId id="347"/>
            <p14:sldId id="348"/>
            <p14:sldId id="349"/>
          </p14:sldIdLst>
        </p14:section>
        <p14:section name="Resources" id="{2C2687F3-9013-42AD-87EB-A6204E45E690}">
          <p14:sldIdLst/>
        </p14:section>
        <p14:section name="Popular slides" id="{5451C97D-3D6C-47E1-8007-8A608554263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B5"/>
    <a:srgbClr val="DCD0D1"/>
    <a:srgbClr val="D9E1E6"/>
    <a:srgbClr val="DEE9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0" autoAdjust="0"/>
    <p:restoredTop sz="96197"/>
  </p:normalViewPr>
  <p:slideViewPr>
    <p:cSldViewPr snapToGrid="0">
      <p:cViewPr>
        <p:scale>
          <a:sx n="80" d="100"/>
          <a:sy n="80" d="100"/>
        </p:scale>
        <p:origin x="912" y="5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5.xml"/><Relationship Id="rId47" Type="http://schemas.openxmlformats.org/officeDocument/2006/relationships/slide" Target="slides/slide10.xml"/><Relationship Id="rId63" Type="http://schemas.openxmlformats.org/officeDocument/2006/relationships/font" Target="fonts/font10.fntdata"/><Relationship Id="rId6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Master" Target="slideMasters/slideMaster1.xml"/><Relationship Id="rId40" Type="http://schemas.openxmlformats.org/officeDocument/2006/relationships/slide" Target="slides/slide3.xml"/><Relationship Id="rId45" Type="http://schemas.openxmlformats.org/officeDocument/2006/relationships/slide" Target="slides/slide8.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font" Target="fonts/font8.fntdata"/><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6.xml"/><Relationship Id="rId48" Type="http://schemas.openxmlformats.org/officeDocument/2006/relationships/slide" Target="slides/slide11.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font" Target="fonts/font16.fntdata"/><Relationship Id="rId8" Type="http://schemas.openxmlformats.org/officeDocument/2006/relationships/customXml" Target="../customXml/item8.xml"/><Relationship Id="rId51" Type="http://schemas.openxmlformats.org/officeDocument/2006/relationships/slide" Target="slides/slide1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1.xml"/><Relationship Id="rId46" Type="http://schemas.openxmlformats.org/officeDocument/2006/relationships/slide" Target="slides/slide9.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customXml" Target="../customXml/item20.xml"/><Relationship Id="rId41" Type="http://schemas.openxmlformats.org/officeDocument/2006/relationships/slide" Target="slides/slide4.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ags" Target="tags/tag1.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12.xml"/><Relationship Id="rId57" Type="http://schemas.openxmlformats.org/officeDocument/2006/relationships/font" Target="fonts/font4.fntdata"/><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7.xml"/><Relationship Id="rId52" Type="http://schemas.openxmlformats.org/officeDocument/2006/relationships/slide" Target="slides/slide15.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xml"/><Relationship Id="rId34" Type="http://schemas.openxmlformats.org/officeDocument/2006/relationships/customXml" Target="../customXml/item34.xml"/><Relationship Id="rId50" Type="http://schemas.openxmlformats.org/officeDocument/2006/relationships/slide" Target="slides/slide13.xml"/><Relationship Id="rId55" Type="http://schemas.openxmlformats.org/officeDocument/2006/relationships/font" Target="fonts/font2.fntdata"/><Relationship Id="rId7" Type="http://schemas.openxmlformats.org/officeDocument/2006/relationships/customXml" Target="../customXml/item7.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Allen" userId="S::john.allen@systemiq.earth::5ce638c8-b70f-4488-977f-58f29038d7b5" providerId="AD" clId="Web-{303D5B33-AA39-C89E-B4D9-F916B8A9AD61}"/>
    <pc:docChg chg="modSld">
      <pc:chgData name="John Allen" userId="S::john.allen@systemiq.earth::5ce638c8-b70f-4488-977f-58f29038d7b5" providerId="AD" clId="Web-{303D5B33-AA39-C89E-B4D9-F916B8A9AD61}" dt="2024-09-16T15:20:52.345" v="0" actId="1076"/>
      <pc:docMkLst>
        <pc:docMk/>
      </pc:docMkLst>
      <pc:sldChg chg="modSp">
        <pc:chgData name="John Allen" userId="S::john.allen@systemiq.earth::5ce638c8-b70f-4488-977f-58f29038d7b5" providerId="AD" clId="Web-{303D5B33-AA39-C89E-B4D9-F916B8A9AD61}" dt="2024-09-16T15:20:52.345" v="0" actId="1076"/>
        <pc:sldMkLst>
          <pc:docMk/>
          <pc:sldMk cId="2067194664" sldId="328"/>
        </pc:sldMkLst>
        <pc:spChg chg="mod">
          <ac:chgData name="John Allen" userId="S::john.allen@systemiq.earth::5ce638c8-b70f-4488-977f-58f29038d7b5" providerId="AD" clId="Web-{303D5B33-AA39-C89E-B4D9-F916B8A9AD61}" dt="2024-09-16T15:20:52.345" v="0" actId="1076"/>
          <ac:spMkLst>
            <pc:docMk/>
            <pc:sldMk cId="2067194664" sldId="328"/>
            <ac:spMk id="3" creationId="{8F2753B9-FE16-41CB-A964-89E66921D7A1}"/>
          </ac:spMkLst>
        </pc:spChg>
      </pc:sldChg>
    </pc:docChg>
  </pc:docChgLst>
  <pc:docChgLst>
    <pc:chgData name="Elena Pravettoni" userId="2387adf1-cd91-4b64-af2d-6bb82df097ff" providerId="ADAL" clId="{D377AE5D-4A18-4029-914D-899854A7F76D}"/>
    <pc:docChg chg="modSld">
      <pc:chgData name="Elena Pravettoni" userId="2387adf1-cd91-4b64-af2d-6bb82df097ff" providerId="ADAL" clId="{D377AE5D-4A18-4029-914D-899854A7F76D}" dt="2024-10-01T12:48:14.080" v="2" actId="1076"/>
      <pc:docMkLst>
        <pc:docMk/>
      </pc:docMkLst>
      <pc:sldChg chg="modSp mod">
        <pc:chgData name="Elena Pravettoni" userId="2387adf1-cd91-4b64-af2d-6bb82df097ff" providerId="ADAL" clId="{D377AE5D-4A18-4029-914D-899854A7F76D}" dt="2024-10-01T12:48:06.641" v="0" actId="14100"/>
        <pc:sldMkLst>
          <pc:docMk/>
          <pc:sldMk cId="2504222339" sldId="341"/>
        </pc:sldMkLst>
        <pc:picChg chg="mod">
          <ac:chgData name="Elena Pravettoni" userId="2387adf1-cd91-4b64-af2d-6bb82df097ff" providerId="ADAL" clId="{D377AE5D-4A18-4029-914D-899854A7F76D}" dt="2024-10-01T12:48:06.641" v="0" actId="14100"/>
          <ac:picMkLst>
            <pc:docMk/>
            <pc:sldMk cId="2504222339" sldId="341"/>
            <ac:picMk id="7" creationId="{90E5208E-5A4E-2854-231E-BE05354A1485}"/>
          </ac:picMkLst>
        </pc:picChg>
      </pc:sldChg>
      <pc:sldChg chg="modSp mod">
        <pc:chgData name="Elena Pravettoni" userId="2387adf1-cd91-4b64-af2d-6bb82df097ff" providerId="ADAL" clId="{D377AE5D-4A18-4029-914D-899854A7F76D}" dt="2024-10-01T12:48:14.080" v="2" actId="1076"/>
        <pc:sldMkLst>
          <pc:docMk/>
          <pc:sldMk cId="3246613175" sldId="342"/>
        </pc:sldMkLst>
        <pc:picChg chg="mod">
          <ac:chgData name="Elena Pravettoni" userId="2387adf1-cd91-4b64-af2d-6bb82df097ff" providerId="ADAL" clId="{D377AE5D-4A18-4029-914D-899854A7F76D}" dt="2024-10-01T12:48:14.080" v="2" actId="1076"/>
          <ac:picMkLst>
            <pc:docMk/>
            <pc:sldMk cId="3246613175" sldId="342"/>
            <ac:picMk id="5" creationId="{2EDE3BD2-366F-1345-C2AF-87CFC000A997}"/>
          </ac:picMkLst>
        </pc:picChg>
      </pc:sldChg>
    </pc:docChg>
  </pc:docChgLst>
  <pc:docChgLst>
    <pc:chgData name="Shane O'Connor" userId="ed976c21-d216-4f58-89dd-c6da99bc49a9" providerId="ADAL" clId="{E0DCBDF7-18B3-44D9-9D63-711C469D7D0A}"/>
    <pc:docChg chg="undo custSel addSld modSld">
      <pc:chgData name="Shane O'Connor" userId="ed976c21-d216-4f58-89dd-c6da99bc49a9" providerId="ADAL" clId="{E0DCBDF7-18B3-44D9-9D63-711C469D7D0A}" dt="2024-09-27T11:18:52.741" v="3988" actId="1035"/>
      <pc:docMkLst>
        <pc:docMk/>
      </pc:docMkLst>
      <pc:sldChg chg="addSp delSp modSp mod">
        <pc:chgData name="Shane O'Connor" userId="ed976c21-d216-4f58-89dd-c6da99bc49a9" providerId="ADAL" clId="{E0DCBDF7-18B3-44D9-9D63-711C469D7D0A}" dt="2024-09-27T10:59:19.539" v="37"/>
        <pc:sldMkLst>
          <pc:docMk/>
          <pc:sldMk cId="240967636" sldId="334"/>
        </pc:sldMkLst>
        <pc:spChg chg="mod">
          <ac:chgData name="Shane O'Connor" userId="ed976c21-d216-4f58-89dd-c6da99bc49a9" providerId="ADAL" clId="{E0DCBDF7-18B3-44D9-9D63-711C469D7D0A}" dt="2024-09-27T10:59:19.475" v="1" actId="948"/>
          <ac:spMkLst>
            <pc:docMk/>
            <pc:sldMk cId="240967636" sldId="334"/>
            <ac:spMk id="2" creationId="{195A3896-3BC9-67D6-B5AF-5718A0498A66}"/>
          </ac:spMkLst>
        </pc:spChg>
        <pc:spChg chg="add del mod modVis">
          <ac:chgData name="Shane O'Connor" userId="ed976c21-d216-4f58-89dd-c6da99bc49a9" providerId="ADAL" clId="{E0DCBDF7-18B3-44D9-9D63-711C469D7D0A}" dt="2024-09-27T10:59:19.512" v="23"/>
          <ac:spMkLst>
            <pc:docMk/>
            <pc:sldMk cId="240967636" sldId="334"/>
            <ac:spMk id="3" creationId="{17C9E8CD-A665-BF9F-EFCF-6064E11FC531}"/>
          </ac:spMkLst>
        </pc:spChg>
        <pc:graphicFrameChg chg="add mod ord modVis">
          <ac:chgData name="Shane O'Connor" userId="ed976c21-d216-4f58-89dd-c6da99bc49a9" providerId="ADAL" clId="{E0DCBDF7-18B3-44D9-9D63-711C469D7D0A}" dt="2024-09-27T10:59:19.539" v="37"/>
          <ac:graphicFrameMkLst>
            <pc:docMk/>
            <pc:sldMk cId="240967636" sldId="334"/>
            <ac:graphicFrameMk id="5" creationId="{7AB0DCF8-B64D-1C9A-93AA-1FD0C8783A11}"/>
          </ac:graphicFrameMkLst>
        </pc:graphicFrameChg>
      </pc:sldChg>
      <pc:sldChg chg="addSp delSp modSp mod">
        <pc:chgData name="Shane O'Connor" userId="ed976c21-d216-4f58-89dd-c6da99bc49a9" providerId="ADAL" clId="{E0DCBDF7-18B3-44D9-9D63-711C469D7D0A}" dt="2024-09-27T10:59:23.272" v="75"/>
        <pc:sldMkLst>
          <pc:docMk/>
          <pc:sldMk cId="830865768" sldId="335"/>
        </pc:sldMkLst>
        <pc:spChg chg="mod">
          <ac:chgData name="Shane O'Connor" userId="ed976c21-d216-4f58-89dd-c6da99bc49a9" providerId="ADAL" clId="{E0DCBDF7-18B3-44D9-9D63-711C469D7D0A}" dt="2024-09-27T10:59:23.225" v="39" actId="948"/>
          <ac:spMkLst>
            <pc:docMk/>
            <pc:sldMk cId="830865768" sldId="335"/>
            <ac:spMk id="2" creationId="{195A3896-3BC9-67D6-B5AF-5718A0498A66}"/>
          </ac:spMkLst>
        </pc:spChg>
        <pc:spChg chg="add del mod modVis">
          <ac:chgData name="Shane O'Connor" userId="ed976c21-d216-4f58-89dd-c6da99bc49a9" providerId="ADAL" clId="{E0DCBDF7-18B3-44D9-9D63-711C469D7D0A}" dt="2024-09-27T10:59:23.240" v="61"/>
          <ac:spMkLst>
            <pc:docMk/>
            <pc:sldMk cId="830865768" sldId="335"/>
            <ac:spMk id="3" creationId="{1688B173-0D1D-14E7-B7D0-87E85E00AD5E}"/>
          </ac:spMkLst>
        </pc:spChg>
        <pc:graphicFrameChg chg="add mod ord modVis">
          <ac:chgData name="Shane O'Connor" userId="ed976c21-d216-4f58-89dd-c6da99bc49a9" providerId="ADAL" clId="{E0DCBDF7-18B3-44D9-9D63-711C469D7D0A}" dt="2024-09-27T10:59:23.272" v="75"/>
          <ac:graphicFrameMkLst>
            <pc:docMk/>
            <pc:sldMk cId="830865768" sldId="335"/>
            <ac:graphicFrameMk id="6" creationId="{DAB004B3-EB02-3F05-49C1-71BECD83BCC1}"/>
          </ac:graphicFrameMkLst>
        </pc:graphicFrameChg>
      </pc:sldChg>
      <pc:sldChg chg="addSp delSp modSp mod">
        <pc:chgData name="Shane O'Connor" userId="ed976c21-d216-4f58-89dd-c6da99bc49a9" providerId="ADAL" clId="{E0DCBDF7-18B3-44D9-9D63-711C469D7D0A}" dt="2024-09-27T11:00:30.115" v="281"/>
        <pc:sldMkLst>
          <pc:docMk/>
          <pc:sldMk cId="1302328370" sldId="336"/>
        </pc:sldMkLst>
        <pc:spChg chg="mod">
          <ac:chgData name="Shane O'Connor" userId="ed976c21-d216-4f58-89dd-c6da99bc49a9" providerId="ADAL" clId="{E0DCBDF7-18B3-44D9-9D63-711C469D7D0A}" dt="2024-09-27T11:00:30.094" v="257" actId="948"/>
          <ac:spMkLst>
            <pc:docMk/>
            <pc:sldMk cId="1302328370" sldId="336"/>
            <ac:spMk id="2" creationId="{195A3896-3BC9-67D6-B5AF-5718A0498A66}"/>
          </ac:spMkLst>
        </pc:spChg>
        <pc:spChg chg="add del mod modVis">
          <ac:chgData name="Shane O'Connor" userId="ed976c21-d216-4f58-89dd-c6da99bc49a9" providerId="ADAL" clId="{E0DCBDF7-18B3-44D9-9D63-711C469D7D0A}" dt="2024-09-27T11:00:06.524" v="99"/>
          <ac:spMkLst>
            <pc:docMk/>
            <pc:sldMk cId="1302328370" sldId="336"/>
            <ac:spMk id="3" creationId="{599C0A92-491A-2876-971D-8875423A66A3}"/>
          </ac:spMkLst>
        </pc:spChg>
        <pc:spChg chg="add del mod modVis">
          <ac:chgData name="Shane O'Connor" userId="ed976c21-d216-4f58-89dd-c6da99bc49a9" providerId="ADAL" clId="{E0DCBDF7-18B3-44D9-9D63-711C469D7D0A}" dt="2024-09-27T11:00:19.648" v="148"/>
          <ac:spMkLst>
            <pc:docMk/>
            <pc:sldMk cId="1302328370" sldId="336"/>
            <ac:spMk id="7" creationId="{1E29FE05-E3B4-5E55-A26C-AC59FE92988C}"/>
          </ac:spMkLst>
        </pc:spChg>
        <pc:spChg chg="add del mod modVis">
          <ac:chgData name="Shane O'Connor" userId="ed976c21-d216-4f58-89dd-c6da99bc49a9" providerId="ADAL" clId="{E0DCBDF7-18B3-44D9-9D63-711C469D7D0A}" dt="2024-09-27T11:00:24.756" v="176"/>
          <ac:spMkLst>
            <pc:docMk/>
            <pc:sldMk cId="1302328370" sldId="336"/>
            <ac:spMk id="8" creationId="{9B47AC25-9FA7-F868-91F2-25C0AA00158C}"/>
          </ac:spMkLst>
        </pc:spChg>
        <pc:spChg chg="add del mod modVis">
          <ac:chgData name="Shane O'Connor" userId="ed976c21-d216-4f58-89dd-c6da99bc49a9" providerId="ADAL" clId="{E0DCBDF7-18B3-44D9-9D63-711C469D7D0A}" dt="2024-09-27T11:00:26.276" v="211"/>
          <ac:spMkLst>
            <pc:docMk/>
            <pc:sldMk cId="1302328370" sldId="336"/>
            <ac:spMk id="9" creationId="{E1B187CB-1E8D-3C4D-6F2F-302A471993D8}"/>
          </ac:spMkLst>
        </pc:spChg>
        <pc:spChg chg="add del mod modVis">
          <ac:chgData name="Shane O'Connor" userId="ed976c21-d216-4f58-89dd-c6da99bc49a9" providerId="ADAL" clId="{E0DCBDF7-18B3-44D9-9D63-711C469D7D0A}" dt="2024-09-27T11:00:27.671" v="245"/>
          <ac:spMkLst>
            <pc:docMk/>
            <pc:sldMk cId="1302328370" sldId="336"/>
            <ac:spMk id="10" creationId="{E4B032E7-F318-B11E-C0DA-D967AF0F60D6}"/>
          </ac:spMkLst>
        </pc:spChg>
        <pc:spChg chg="add del mod modVis">
          <ac:chgData name="Shane O'Connor" userId="ed976c21-d216-4f58-89dd-c6da99bc49a9" providerId="ADAL" clId="{E0DCBDF7-18B3-44D9-9D63-711C469D7D0A}" dt="2024-09-27T11:00:30.115" v="279"/>
          <ac:spMkLst>
            <pc:docMk/>
            <pc:sldMk cId="1302328370" sldId="336"/>
            <ac:spMk id="11" creationId="{E76A4C7E-6C78-B466-6AB9-9646E6E72B57}"/>
          </ac:spMkLst>
        </pc:spChg>
        <pc:graphicFrameChg chg="add mod ord modVis">
          <ac:chgData name="Shane O'Connor" userId="ed976c21-d216-4f58-89dd-c6da99bc49a9" providerId="ADAL" clId="{E0DCBDF7-18B3-44D9-9D63-711C469D7D0A}" dt="2024-09-27T11:00:30.115" v="281"/>
          <ac:graphicFrameMkLst>
            <pc:docMk/>
            <pc:sldMk cId="1302328370" sldId="336"/>
            <ac:graphicFrameMk id="5" creationId="{5C3BBEA5-B210-05B4-ED15-E0A6694AD139}"/>
          </ac:graphicFrameMkLst>
        </pc:graphicFrameChg>
      </pc:sldChg>
      <pc:sldChg chg="addSp delSp modSp mod">
        <pc:chgData name="Shane O'Connor" userId="ed976c21-d216-4f58-89dd-c6da99bc49a9" providerId="ADAL" clId="{E0DCBDF7-18B3-44D9-9D63-711C469D7D0A}" dt="2024-09-27T11:00:39.613" v="319"/>
        <pc:sldMkLst>
          <pc:docMk/>
          <pc:sldMk cId="1106705374" sldId="338"/>
        </pc:sldMkLst>
        <pc:spChg chg="mod">
          <ac:chgData name="Shane O'Connor" userId="ed976c21-d216-4f58-89dd-c6da99bc49a9" providerId="ADAL" clId="{E0DCBDF7-18B3-44D9-9D63-711C469D7D0A}" dt="2024-09-27T11:00:39.560" v="283" actId="948"/>
          <ac:spMkLst>
            <pc:docMk/>
            <pc:sldMk cId="1106705374" sldId="338"/>
            <ac:spMk id="2" creationId="{195A3896-3BC9-67D6-B5AF-5718A0498A66}"/>
          </ac:spMkLst>
        </pc:spChg>
        <pc:spChg chg="add del mod modVis">
          <ac:chgData name="Shane O'Connor" userId="ed976c21-d216-4f58-89dd-c6da99bc49a9" providerId="ADAL" clId="{E0DCBDF7-18B3-44D9-9D63-711C469D7D0A}" dt="2024-09-27T11:00:39.581" v="305"/>
          <ac:spMkLst>
            <pc:docMk/>
            <pc:sldMk cId="1106705374" sldId="338"/>
            <ac:spMk id="3" creationId="{2B4D41FB-9661-DF0D-D7A4-AB2764292CEF}"/>
          </ac:spMkLst>
        </pc:spChg>
        <pc:graphicFrameChg chg="add mod ord modVis">
          <ac:chgData name="Shane O'Connor" userId="ed976c21-d216-4f58-89dd-c6da99bc49a9" providerId="ADAL" clId="{E0DCBDF7-18B3-44D9-9D63-711C469D7D0A}" dt="2024-09-27T11:00:39.613" v="319"/>
          <ac:graphicFrameMkLst>
            <pc:docMk/>
            <pc:sldMk cId="1106705374" sldId="338"/>
            <ac:graphicFrameMk id="6" creationId="{981367CE-BD4B-DE9C-4BF4-8E49FB71B91C}"/>
          </ac:graphicFrameMkLst>
        </pc:graphicFrameChg>
      </pc:sldChg>
      <pc:sldChg chg="addSp delSp modSp mod">
        <pc:chgData name="Shane O'Connor" userId="ed976c21-d216-4f58-89dd-c6da99bc49a9" providerId="ADAL" clId="{E0DCBDF7-18B3-44D9-9D63-711C469D7D0A}" dt="2024-09-27T11:02:06.500" v="780"/>
        <pc:sldMkLst>
          <pc:docMk/>
          <pc:sldMk cId="1654421132" sldId="340"/>
        </pc:sldMkLst>
        <pc:spChg chg="mod">
          <ac:chgData name="Shane O'Connor" userId="ed976c21-d216-4f58-89dd-c6da99bc49a9" providerId="ADAL" clId="{E0DCBDF7-18B3-44D9-9D63-711C469D7D0A}" dt="2024-09-27T11:02:06.478" v="756" actId="948"/>
          <ac:spMkLst>
            <pc:docMk/>
            <pc:sldMk cId="1654421132" sldId="340"/>
            <ac:spMk id="2" creationId="{195A3896-3BC9-67D6-B5AF-5718A0498A66}"/>
          </ac:spMkLst>
        </pc:spChg>
        <pc:spChg chg="add del mod modVis">
          <ac:chgData name="Shane O'Connor" userId="ed976c21-d216-4f58-89dd-c6da99bc49a9" providerId="ADAL" clId="{E0DCBDF7-18B3-44D9-9D63-711C469D7D0A}" dt="2024-09-27T11:01:07.089" v="343"/>
          <ac:spMkLst>
            <pc:docMk/>
            <pc:sldMk cId="1654421132" sldId="340"/>
            <ac:spMk id="3" creationId="{AE8121E2-4A62-A24C-38BA-0B37865BA74C}"/>
          </ac:spMkLst>
        </pc:spChg>
        <pc:spChg chg="add del mod modVis">
          <ac:chgData name="Shane O'Connor" userId="ed976c21-d216-4f58-89dd-c6da99bc49a9" providerId="ADAL" clId="{E0DCBDF7-18B3-44D9-9D63-711C469D7D0A}" dt="2024-09-27T11:01:09.679" v="382"/>
          <ac:spMkLst>
            <pc:docMk/>
            <pc:sldMk cId="1654421132" sldId="340"/>
            <ac:spMk id="8" creationId="{A8F12601-A6AF-728B-CFDD-6B226730D41F}"/>
          </ac:spMkLst>
        </pc:spChg>
        <pc:spChg chg="add del mod modVis">
          <ac:chgData name="Shane O'Connor" userId="ed976c21-d216-4f58-89dd-c6da99bc49a9" providerId="ADAL" clId="{E0DCBDF7-18B3-44D9-9D63-711C469D7D0A}" dt="2024-09-27T11:01:14.350" v="417"/>
          <ac:spMkLst>
            <pc:docMk/>
            <pc:sldMk cId="1654421132" sldId="340"/>
            <ac:spMk id="9" creationId="{6322E7F0-7ACD-5435-C604-3E4D66CE62EE}"/>
          </ac:spMkLst>
        </pc:spChg>
        <pc:spChg chg="add del mod modVis">
          <ac:chgData name="Shane O'Connor" userId="ed976c21-d216-4f58-89dd-c6da99bc49a9" providerId="ADAL" clId="{E0DCBDF7-18B3-44D9-9D63-711C469D7D0A}" dt="2024-09-27T11:01:15.273" v="444"/>
          <ac:spMkLst>
            <pc:docMk/>
            <pc:sldMk cId="1654421132" sldId="340"/>
            <ac:spMk id="10" creationId="{C8C9ACD7-EF3E-CF6C-275A-6CBC61574E72}"/>
          </ac:spMkLst>
        </pc:spChg>
        <pc:spChg chg="add del mod modVis">
          <ac:chgData name="Shane O'Connor" userId="ed976c21-d216-4f58-89dd-c6da99bc49a9" providerId="ADAL" clId="{E0DCBDF7-18B3-44D9-9D63-711C469D7D0A}" dt="2024-09-27T11:01:17.667" v="484"/>
          <ac:spMkLst>
            <pc:docMk/>
            <pc:sldMk cId="1654421132" sldId="340"/>
            <ac:spMk id="11" creationId="{218FD0D8-DE94-438A-F839-5862BE3FAFAD}"/>
          </ac:spMkLst>
        </pc:spChg>
        <pc:spChg chg="add del mod modVis">
          <ac:chgData name="Shane O'Connor" userId="ed976c21-d216-4f58-89dd-c6da99bc49a9" providerId="ADAL" clId="{E0DCBDF7-18B3-44D9-9D63-711C469D7D0A}" dt="2024-09-27T11:01:21.517" v="533"/>
          <ac:spMkLst>
            <pc:docMk/>
            <pc:sldMk cId="1654421132" sldId="340"/>
            <ac:spMk id="12" creationId="{04704EE2-D7E6-AC4D-902A-C59E0F8ADB65}"/>
          </ac:spMkLst>
        </pc:spChg>
        <pc:spChg chg="add del mod modVis">
          <ac:chgData name="Shane O'Connor" userId="ed976c21-d216-4f58-89dd-c6da99bc49a9" providerId="ADAL" clId="{E0DCBDF7-18B3-44D9-9D63-711C469D7D0A}" dt="2024-09-27T11:01:24.433" v="582"/>
          <ac:spMkLst>
            <pc:docMk/>
            <pc:sldMk cId="1654421132" sldId="340"/>
            <ac:spMk id="13" creationId="{F50ED9AF-47A4-324E-A70E-7E5FF317E4A8}"/>
          </ac:spMkLst>
        </pc:spChg>
        <pc:spChg chg="add del mod modVis">
          <ac:chgData name="Shane O'Connor" userId="ed976c21-d216-4f58-89dd-c6da99bc49a9" providerId="ADAL" clId="{E0DCBDF7-18B3-44D9-9D63-711C469D7D0A}" dt="2024-09-27T11:01:25.176" v="612"/>
          <ac:spMkLst>
            <pc:docMk/>
            <pc:sldMk cId="1654421132" sldId="340"/>
            <ac:spMk id="14" creationId="{16603C5B-E619-D66A-6C98-578AE9E2874E}"/>
          </ac:spMkLst>
        </pc:spChg>
        <pc:spChg chg="add del mod modVis">
          <ac:chgData name="Shane O'Connor" userId="ed976c21-d216-4f58-89dd-c6da99bc49a9" providerId="ADAL" clId="{E0DCBDF7-18B3-44D9-9D63-711C469D7D0A}" dt="2024-09-27T11:01:38.900" v="638"/>
          <ac:spMkLst>
            <pc:docMk/>
            <pc:sldMk cId="1654421132" sldId="340"/>
            <ac:spMk id="15" creationId="{6E0D6F19-9016-6A82-CF35-B35D9462EDB2}"/>
          </ac:spMkLst>
        </pc:spChg>
        <pc:spChg chg="add del mod modVis">
          <ac:chgData name="Shane O'Connor" userId="ed976c21-d216-4f58-89dd-c6da99bc49a9" providerId="ADAL" clId="{E0DCBDF7-18B3-44D9-9D63-711C469D7D0A}" dt="2024-09-27T11:01:46.641" v="664"/>
          <ac:spMkLst>
            <pc:docMk/>
            <pc:sldMk cId="1654421132" sldId="340"/>
            <ac:spMk id="16" creationId="{C5E0A5A3-8B08-FB1B-4855-4086FF2B9C29}"/>
          </ac:spMkLst>
        </pc:spChg>
        <pc:spChg chg="add del mod modVis">
          <ac:chgData name="Shane O'Connor" userId="ed976c21-d216-4f58-89dd-c6da99bc49a9" providerId="ADAL" clId="{E0DCBDF7-18B3-44D9-9D63-711C469D7D0A}" dt="2024-09-27T11:01:51.681" v="690"/>
          <ac:spMkLst>
            <pc:docMk/>
            <pc:sldMk cId="1654421132" sldId="340"/>
            <ac:spMk id="17" creationId="{9C9C0983-4668-8720-442F-1CB254AF3F3D}"/>
          </ac:spMkLst>
        </pc:spChg>
        <pc:spChg chg="add del mod modVis">
          <ac:chgData name="Shane O'Connor" userId="ed976c21-d216-4f58-89dd-c6da99bc49a9" providerId="ADAL" clId="{E0DCBDF7-18B3-44D9-9D63-711C469D7D0A}" dt="2024-09-27T11:02:02.382" v="717"/>
          <ac:spMkLst>
            <pc:docMk/>
            <pc:sldMk cId="1654421132" sldId="340"/>
            <ac:spMk id="18" creationId="{06B63B9C-3698-1B40-F80A-5BBCBF810922}"/>
          </ac:spMkLst>
        </pc:spChg>
        <pc:spChg chg="add del mod modVis">
          <ac:chgData name="Shane O'Connor" userId="ed976c21-d216-4f58-89dd-c6da99bc49a9" providerId="ADAL" clId="{E0DCBDF7-18B3-44D9-9D63-711C469D7D0A}" dt="2024-09-27T11:02:03.374" v="747"/>
          <ac:spMkLst>
            <pc:docMk/>
            <pc:sldMk cId="1654421132" sldId="340"/>
            <ac:spMk id="19" creationId="{6FA23DE9-D63E-4D3C-1928-8406C0CBA94C}"/>
          </ac:spMkLst>
        </pc:spChg>
        <pc:spChg chg="add del mod modVis">
          <ac:chgData name="Shane O'Connor" userId="ed976c21-d216-4f58-89dd-c6da99bc49a9" providerId="ADAL" clId="{E0DCBDF7-18B3-44D9-9D63-711C469D7D0A}" dt="2024-09-27T11:02:06.500" v="778"/>
          <ac:spMkLst>
            <pc:docMk/>
            <pc:sldMk cId="1654421132" sldId="340"/>
            <ac:spMk id="20" creationId="{368DE2FB-D2C3-3B9E-EEA4-BA97E364A8A9}"/>
          </ac:spMkLst>
        </pc:spChg>
        <pc:graphicFrameChg chg="add mod ord modVis">
          <ac:chgData name="Shane O'Connor" userId="ed976c21-d216-4f58-89dd-c6da99bc49a9" providerId="ADAL" clId="{E0DCBDF7-18B3-44D9-9D63-711C469D7D0A}" dt="2024-09-27T11:02:06.500" v="780"/>
          <ac:graphicFrameMkLst>
            <pc:docMk/>
            <pc:sldMk cId="1654421132" sldId="340"/>
            <ac:graphicFrameMk id="7" creationId="{245AB9D5-F47F-4006-9346-6A96D6F30CBF}"/>
          </ac:graphicFrameMkLst>
        </pc:graphicFrameChg>
      </pc:sldChg>
      <pc:sldChg chg="addSp delSp modSp mod">
        <pc:chgData name="Shane O'Connor" userId="ed976c21-d216-4f58-89dd-c6da99bc49a9" providerId="ADAL" clId="{E0DCBDF7-18B3-44D9-9D63-711C469D7D0A}" dt="2024-09-27T11:02:35.599" v="818"/>
        <pc:sldMkLst>
          <pc:docMk/>
          <pc:sldMk cId="2504222339" sldId="341"/>
        </pc:sldMkLst>
        <pc:spChg chg="mod">
          <ac:chgData name="Shane O'Connor" userId="ed976c21-d216-4f58-89dd-c6da99bc49a9" providerId="ADAL" clId="{E0DCBDF7-18B3-44D9-9D63-711C469D7D0A}" dt="2024-09-27T11:02:35.546" v="782" actId="948"/>
          <ac:spMkLst>
            <pc:docMk/>
            <pc:sldMk cId="2504222339" sldId="341"/>
            <ac:spMk id="2" creationId="{195A3896-3BC9-67D6-B5AF-5718A0498A66}"/>
          </ac:spMkLst>
        </pc:spChg>
        <pc:spChg chg="add del mod modVis">
          <ac:chgData name="Shane O'Connor" userId="ed976c21-d216-4f58-89dd-c6da99bc49a9" providerId="ADAL" clId="{E0DCBDF7-18B3-44D9-9D63-711C469D7D0A}" dt="2024-09-27T11:02:35.571" v="804"/>
          <ac:spMkLst>
            <pc:docMk/>
            <pc:sldMk cId="2504222339" sldId="341"/>
            <ac:spMk id="3" creationId="{75F73721-BA6E-63EE-8508-912F4B4C80E1}"/>
          </ac:spMkLst>
        </pc:spChg>
        <pc:graphicFrameChg chg="add mod ord modVis">
          <ac:chgData name="Shane O'Connor" userId="ed976c21-d216-4f58-89dd-c6da99bc49a9" providerId="ADAL" clId="{E0DCBDF7-18B3-44D9-9D63-711C469D7D0A}" dt="2024-09-27T11:02:35.599" v="818"/>
          <ac:graphicFrameMkLst>
            <pc:docMk/>
            <pc:sldMk cId="2504222339" sldId="341"/>
            <ac:graphicFrameMk id="5" creationId="{81D475E2-C184-4BB1-76EA-4128EFAF136E}"/>
          </ac:graphicFrameMkLst>
        </pc:graphicFrameChg>
      </pc:sldChg>
      <pc:sldChg chg="addSp delSp modSp mod">
        <pc:chgData name="Shane O'Connor" userId="ed976c21-d216-4f58-89dd-c6da99bc49a9" providerId="ADAL" clId="{E0DCBDF7-18B3-44D9-9D63-711C469D7D0A}" dt="2024-09-27T11:03:47.651" v="968"/>
        <pc:sldMkLst>
          <pc:docMk/>
          <pc:sldMk cId="3246613175" sldId="342"/>
        </pc:sldMkLst>
        <pc:spChg chg="mod">
          <ac:chgData name="Shane O'Connor" userId="ed976c21-d216-4f58-89dd-c6da99bc49a9" providerId="ADAL" clId="{E0DCBDF7-18B3-44D9-9D63-711C469D7D0A}" dt="2024-09-27T11:03:47.619" v="944" actId="948"/>
          <ac:spMkLst>
            <pc:docMk/>
            <pc:sldMk cId="3246613175" sldId="342"/>
            <ac:spMk id="2" creationId="{195A3896-3BC9-67D6-B5AF-5718A0498A66}"/>
          </ac:spMkLst>
        </pc:spChg>
        <pc:spChg chg="add del mod modVis">
          <ac:chgData name="Shane O'Connor" userId="ed976c21-d216-4f58-89dd-c6da99bc49a9" providerId="ADAL" clId="{E0DCBDF7-18B3-44D9-9D63-711C469D7D0A}" dt="2024-09-27T11:03:12.147" v="842"/>
          <ac:spMkLst>
            <pc:docMk/>
            <pc:sldMk cId="3246613175" sldId="342"/>
            <ac:spMk id="3" creationId="{47372479-A92D-EDF2-131F-78D135B9FA84}"/>
          </ac:spMkLst>
        </pc:spChg>
        <pc:spChg chg="add del mod modVis">
          <ac:chgData name="Shane O'Connor" userId="ed976c21-d216-4f58-89dd-c6da99bc49a9" providerId="ADAL" clId="{E0DCBDF7-18B3-44D9-9D63-711C469D7D0A}" dt="2024-09-27T11:03:40.030" v="906"/>
          <ac:spMkLst>
            <pc:docMk/>
            <pc:sldMk cId="3246613175" sldId="342"/>
            <ac:spMk id="7" creationId="{AA49463C-7B55-07DF-52B0-FB007F152A62}"/>
          </ac:spMkLst>
        </pc:spChg>
        <pc:spChg chg="add del mod modVis">
          <ac:chgData name="Shane O'Connor" userId="ed976c21-d216-4f58-89dd-c6da99bc49a9" providerId="ADAL" clId="{E0DCBDF7-18B3-44D9-9D63-711C469D7D0A}" dt="2024-09-27T11:03:47.645" v="966"/>
          <ac:spMkLst>
            <pc:docMk/>
            <pc:sldMk cId="3246613175" sldId="342"/>
            <ac:spMk id="9" creationId="{FD526B5A-5E4B-63E0-2FDD-DDAD85EE1FC0}"/>
          </ac:spMkLst>
        </pc:spChg>
        <pc:graphicFrameChg chg="add mod ord modVis">
          <ac:chgData name="Shane O'Connor" userId="ed976c21-d216-4f58-89dd-c6da99bc49a9" providerId="ADAL" clId="{E0DCBDF7-18B3-44D9-9D63-711C469D7D0A}" dt="2024-09-27T11:03:47.651" v="968"/>
          <ac:graphicFrameMkLst>
            <pc:docMk/>
            <pc:sldMk cId="3246613175" sldId="342"/>
            <ac:graphicFrameMk id="6" creationId="{3CFE9D1A-ADE1-24D4-D5E3-2D70E6C3D33B}"/>
          </ac:graphicFrameMkLst>
        </pc:graphicFrameChg>
        <pc:picChg chg="mod">
          <ac:chgData name="Shane O'Connor" userId="ed976c21-d216-4f58-89dd-c6da99bc49a9" providerId="ADAL" clId="{E0DCBDF7-18B3-44D9-9D63-711C469D7D0A}" dt="2024-09-27T11:03:33.051" v="867" actId="1076"/>
          <ac:picMkLst>
            <pc:docMk/>
            <pc:sldMk cId="3246613175" sldId="342"/>
            <ac:picMk id="5" creationId="{2EDE3BD2-366F-1345-C2AF-87CFC000A997}"/>
          </ac:picMkLst>
        </pc:picChg>
        <pc:picChg chg="del">
          <ac:chgData name="Shane O'Connor" userId="ed976c21-d216-4f58-89dd-c6da99bc49a9" providerId="ADAL" clId="{E0DCBDF7-18B3-44D9-9D63-711C469D7D0A}" dt="2024-09-27T11:03:24.249" v="862" actId="478"/>
          <ac:picMkLst>
            <pc:docMk/>
            <pc:sldMk cId="3246613175" sldId="342"/>
            <ac:picMk id="8" creationId="{87749FC8-2FFE-71CC-4B4B-43F340B2DA03}"/>
          </ac:picMkLst>
        </pc:picChg>
      </pc:sldChg>
      <pc:sldChg chg="addSp delSp modSp mod">
        <pc:chgData name="Shane O'Connor" userId="ed976c21-d216-4f58-89dd-c6da99bc49a9" providerId="ADAL" clId="{E0DCBDF7-18B3-44D9-9D63-711C469D7D0A}" dt="2024-09-27T11:11:04.164" v="2150"/>
        <pc:sldMkLst>
          <pc:docMk/>
          <pc:sldMk cId="492305789" sldId="344"/>
        </pc:sldMkLst>
        <pc:spChg chg="mod">
          <ac:chgData name="Shane O'Connor" userId="ed976c21-d216-4f58-89dd-c6da99bc49a9" providerId="ADAL" clId="{E0DCBDF7-18B3-44D9-9D63-711C469D7D0A}" dt="2024-09-27T11:11:04.142" v="2126" actId="948"/>
          <ac:spMkLst>
            <pc:docMk/>
            <pc:sldMk cId="492305789" sldId="344"/>
            <ac:spMk id="2" creationId="{195A3896-3BC9-67D6-B5AF-5718A0498A66}"/>
          </ac:spMkLst>
        </pc:spChg>
        <pc:spChg chg="add del mod modVis">
          <ac:chgData name="Shane O'Connor" userId="ed976c21-d216-4f58-89dd-c6da99bc49a9" providerId="ADAL" clId="{E0DCBDF7-18B3-44D9-9D63-711C469D7D0A}" dt="2024-09-27T11:09:47.113" v="1782" actId="962"/>
          <ac:spMkLst>
            <pc:docMk/>
            <pc:sldMk cId="492305789" sldId="344"/>
            <ac:spMk id="3" creationId="{A56EB92C-5A03-7DDB-CA9F-CC790F9F38D9}"/>
          </ac:spMkLst>
        </pc:spChg>
        <pc:spChg chg="add del mod modVis">
          <ac:chgData name="Shane O'Connor" userId="ed976c21-d216-4f58-89dd-c6da99bc49a9" providerId="ADAL" clId="{E0DCBDF7-18B3-44D9-9D63-711C469D7D0A}" dt="2024-09-27T11:10:06.289" v="1808"/>
          <ac:spMkLst>
            <pc:docMk/>
            <pc:sldMk cId="492305789" sldId="344"/>
            <ac:spMk id="8" creationId="{1A18BFA5-A858-3EB0-44CF-8D2DB64E113C}"/>
          </ac:spMkLst>
        </pc:spChg>
        <pc:spChg chg="add del mod modVis">
          <ac:chgData name="Shane O'Connor" userId="ed976c21-d216-4f58-89dd-c6da99bc49a9" providerId="ADAL" clId="{E0DCBDF7-18B3-44D9-9D63-711C469D7D0A}" dt="2024-09-27T11:10:10.264" v="1856"/>
          <ac:spMkLst>
            <pc:docMk/>
            <pc:sldMk cId="492305789" sldId="344"/>
            <ac:spMk id="10" creationId="{97837928-CEB1-3EB6-5C91-5F8C29187C4E}"/>
          </ac:spMkLst>
        </pc:spChg>
        <pc:spChg chg="add del mod modVis">
          <ac:chgData name="Shane O'Connor" userId="ed976c21-d216-4f58-89dd-c6da99bc49a9" providerId="ADAL" clId="{E0DCBDF7-18B3-44D9-9D63-711C469D7D0A}" dt="2024-09-27T11:10:12.205" v="1883"/>
          <ac:spMkLst>
            <pc:docMk/>
            <pc:sldMk cId="492305789" sldId="344"/>
            <ac:spMk id="11" creationId="{08670ECE-5CA4-B4C6-1473-AEBBDCA4E826}"/>
          </ac:spMkLst>
        </pc:spChg>
        <pc:spChg chg="add del mod modVis">
          <ac:chgData name="Shane O'Connor" userId="ed976c21-d216-4f58-89dd-c6da99bc49a9" providerId="ADAL" clId="{E0DCBDF7-18B3-44D9-9D63-711C469D7D0A}" dt="2024-09-27T11:10:15.691" v="1909"/>
          <ac:spMkLst>
            <pc:docMk/>
            <pc:sldMk cId="492305789" sldId="344"/>
            <ac:spMk id="12" creationId="{6DBE94DD-BC64-273C-397E-3D8B8F774AFC}"/>
          </ac:spMkLst>
        </pc:spChg>
        <pc:spChg chg="add del mod modVis">
          <ac:chgData name="Shane O'Connor" userId="ed976c21-d216-4f58-89dd-c6da99bc49a9" providerId="ADAL" clId="{E0DCBDF7-18B3-44D9-9D63-711C469D7D0A}" dt="2024-09-27T11:10:20.783" v="1935"/>
          <ac:spMkLst>
            <pc:docMk/>
            <pc:sldMk cId="492305789" sldId="344"/>
            <ac:spMk id="13" creationId="{D4F5A206-CEA7-9C4A-3691-F93E573B0D3A}"/>
          </ac:spMkLst>
        </pc:spChg>
        <pc:spChg chg="add del mod modVis">
          <ac:chgData name="Shane O'Connor" userId="ed976c21-d216-4f58-89dd-c6da99bc49a9" providerId="ADAL" clId="{E0DCBDF7-18B3-44D9-9D63-711C469D7D0A}" dt="2024-09-27T11:10:24.500" v="1962"/>
          <ac:spMkLst>
            <pc:docMk/>
            <pc:sldMk cId="492305789" sldId="344"/>
            <ac:spMk id="14" creationId="{5681DD49-30FA-039E-5CD7-4CD55A294220}"/>
          </ac:spMkLst>
        </pc:spChg>
        <pc:spChg chg="add del mod modVis">
          <ac:chgData name="Shane O'Connor" userId="ed976c21-d216-4f58-89dd-c6da99bc49a9" providerId="ADAL" clId="{E0DCBDF7-18B3-44D9-9D63-711C469D7D0A}" dt="2024-09-27T11:10:27.995" v="1998"/>
          <ac:spMkLst>
            <pc:docMk/>
            <pc:sldMk cId="492305789" sldId="344"/>
            <ac:spMk id="15" creationId="{A03DDC06-E063-3BDF-21BE-D896108FB5FD}"/>
          </ac:spMkLst>
        </pc:spChg>
        <pc:spChg chg="add del mod modVis">
          <ac:chgData name="Shane O'Connor" userId="ed976c21-d216-4f58-89dd-c6da99bc49a9" providerId="ADAL" clId="{E0DCBDF7-18B3-44D9-9D63-711C469D7D0A}" dt="2024-09-27T11:10:31.024" v="2042"/>
          <ac:spMkLst>
            <pc:docMk/>
            <pc:sldMk cId="492305789" sldId="344"/>
            <ac:spMk id="16" creationId="{AF5CCCB3-63BE-842D-509F-F144901C986B}"/>
          </ac:spMkLst>
        </pc:spChg>
        <pc:spChg chg="add del mod modVis">
          <ac:chgData name="Shane O'Connor" userId="ed976c21-d216-4f58-89dd-c6da99bc49a9" providerId="ADAL" clId="{E0DCBDF7-18B3-44D9-9D63-711C469D7D0A}" dt="2024-09-27T11:10:51.996" v="2068"/>
          <ac:spMkLst>
            <pc:docMk/>
            <pc:sldMk cId="492305789" sldId="344"/>
            <ac:spMk id="17" creationId="{E6CE68B9-30E6-34CE-B151-A41CB620A545}"/>
          </ac:spMkLst>
        </pc:spChg>
        <pc:spChg chg="add del mod modVis">
          <ac:chgData name="Shane O'Connor" userId="ed976c21-d216-4f58-89dd-c6da99bc49a9" providerId="ADAL" clId="{E0DCBDF7-18B3-44D9-9D63-711C469D7D0A}" dt="2024-09-27T11:10:54.872" v="2096"/>
          <ac:spMkLst>
            <pc:docMk/>
            <pc:sldMk cId="492305789" sldId="344"/>
            <ac:spMk id="18" creationId="{D9D9A46B-064C-77FC-C27C-3E5271A0728F}"/>
          </ac:spMkLst>
        </pc:spChg>
        <pc:spChg chg="add del mod modVis">
          <ac:chgData name="Shane O'Connor" userId="ed976c21-d216-4f58-89dd-c6da99bc49a9" providerId="ADAL" clId="{E0DCBDF7-18B3-44D9-9D63-711C469D7D0A}" dt="2024-09-27T11:11:00.265" v="2122"/>
          <ac:spMkLst>
            <pc:docMk/>
            <pc:sldMk cId="492305789" sldId="344"/>
            <ac:spMk id="19" creationId="{BA01D064-143F-E1F3-F29B-BF900F3A27AC}"/>
          </ac:spMkLst>
        </pc:spChg>
        <pc:spChg chg="add del mod modVis">
          <ac:chgData name="Shane O'Connor" userId="ed976c21-d216-4f58-89dd-c6da99bc49a9" providerId="ADAL" clId="{E0DCBDF7-18B3-44D9-9D63-711C469D7D0A}" dt="2024-09-27T11:11:04.164" v="2148"/>
          <ac:spMkLst>
            <pc:docMk/>
            <pc:sldMk cId="492305789" sldId="344"/>
            <ac:spMk id="20" creationId="{8C8A7566-9857-3379-27FF-0D2A8BC9AD08}"/>
          </ac:spMkLst>
        </pc:spChg>
        <pc:graphicFrameChg chg="add mod ord modVis">
          <ac:chgData name="Shane O'Connor" userId="ed976c21-d216-4f58-89dd-c6da99bc49a9" providerId="ADAL" clId="{E0DCBDF7-18B3-44D9-9D63-711C469D7D0A}" dt="2024-09-27T11:09:47.113" v="1768" actId="14100"/>
          <ac:graphicFrameMkLst>
            <pc:docMk/>
            <pc:sldMk cId="492305789" sldId="344"/>
            <ac:graphicFrameMk id="7" creationId="{0A2C5AFC-70E9-C08C-BCE9-308B7CDD34B8}"/>
          </ac:graphicFrameMkLst>
        </pc:graphicFrameChg>
        <pc:graphicFrameChg chg="add mod ord modVis">
          <ac:chgData name="Shane O'Connor" userId="ed976c21-d216-4f58-89dd-c6da99bc49a9" providerId="ADAL" clId="{E0DCBDF7-18B3-44D9-9D63-711C469D7D0A}" dt="2024-09-27T11:11:04.164" v="2150"/>
          <ac:graphicFrameMkLst>
            <pc:docMk/>
            <pc:sldMk cId="492305789" sldId="344"/>
            <ac:graphicFrameMk id="9" creationId="{D0652B27-C402-3DF8-7DF6-BCFD11DD9D36}"/>
          </ac:graphicFrameMkLst>
        </pc:graphicFrameChg>
      </pc:sldChg>
      <pc:sldChg chg="addSp delSp modSp mod">
        <pc:chgData name="Shane O'Connor" userId="ed976c21-d216-4f58-89dd-c6da99bc49a9" providerId="ADAL" clId="{E0DCBDF7-18B3-44D9-9D63-711C469D7D0A}" dt="2024-09-27T11:12:16.329" v="2514"/>
        <pc:sldMkLst>
          <pc:docMk/>
          <pc:sldMk cId="1260301576" sldId="345"/>
        </pc:sldMkLst>
        <pc:spChg chg="mod">
          <ac:chgData name="Shane O'Connor" userId="ed976c21-d216-4f58-89dd-c6da99bc49a9" providerId="ADAL" clId="{E0DCBDF7-18B3-44D9-9D63-711C469D7D0A}" dt="2024-09-27T11:12:16.306" v="2490" actId="948"/>
          <ac:spMkLst>
            <pc:docMk/>
            <pc:sldMk cId="1260301576" sldId="345"/>
            <ac:spMk id="2" creationId="{195A3896-3BC9-67D6-B5AF-5718A0498A66}"/>
          </ac:spMkLst>
        </pc:spChg>
        <pc:spChg chg="add del mod modVis">
          <ac:chgData name="Shane O'Connor" userId="ed976c21-d216-4f58-89dd-c6da99bc49a9" providerId="ADAL" clId="{E0DCBDF7-18B3-44D9-9D63-711C469D7D0A}" dt="2024-09-27T11:11:17.922" v="2174"/>
          <ac:spMkLst>
            <pc:docMk/>
            <pc:sldMk cId="1260301576" sldId="345"/>
            <ac:spMk id="3" creationId="{144AA835-E230-2C99-8CD7-50B1E3A4816C}"/>
          </ac:spMkLst>
        </pc:spChg>
        <pc:spChg chg="add del mod modVis">
          <ac:chgData name="Shane O'Connor" userId="ed976c21-d216-4f58-89dd-c6da99bc49a9" providerId="ADAL" clId="{E0DCBDF7-18B3-44D9-9D63-711C469D7D0A}" dt="2024-09-27T11:11:20.141" v="2212"/>
          <ac:spMkLst>
            <pc:docMk/>
            <pc:sldMk cId="1260301576" sldId="345"/>
            <ac:spMk id="7" creationId="{B78AA66E-10F0-B6DF-F501-AF6F7E572F15}"/>
          </ac:spMkLst>
        </pc:spChg>
        <pc:spChg chg="add del mod modVis">
          <ac:chgData name="Shane O'Connor" userId="ed976c21-d216-4f58-89dd-c6da99bc49a9" providerId="ADAL" clId="{E0DCBDF7-18B3-44D9-9D63-711C469D7D0A}" dt="2024-09-27T11:11:22.732" v="2238"/>
          <ac:spMkLst>
            <pc:docMk/>
            <pc:sldMk cId="1260301576" sldId="345"/>
            <ac:spMk id="8" creationId="{15A905A8-23F4-2F94-00DD-6879661D2866}"/>
          </ac:spMkLst>
        </pc:spChg>
        <pc:spChg chg="add del mod modVis">
          <ac:chgData name="Shane O'Connor" userId="ed976c21-d216-4f58-89dd-c6da99bc49a9" providerId="ADAL" clId="{E0DCBDF7-18B3-44D9-9D63-711C469D7D0A}" dt="2024-09-27T11:11:24.241" v="2264"/>
          <ac:spMkLst>
            <pc:docMk/>
            <pc:sldMk cId="1260301576" sldId="345"/>
            <ac:spMk id="9" creationId="{DA81EE91-76F3-A10B-0509-14F09DDBF664}"/>
          </ac:spMkLst>
        </pc:spChg>
        <pc:spChg chg="add del mod modVis">
          <ac:chgData name="Shane O'Connor" userId="ed976c21-d216-4f58-89dd-c6da99bc49a9" providerId="ADAL" clId="{E0DCBDF7-18B3-44D9-9D63-711C469D7D0A}" dt="2024-09-27T11:11:26.023" v="2290"/>
          <ac:spMkLst>
            <pc:docMk/>
            <pc:sldMk cId="1260301576" sldId="345"/>
            <ac:spMk id="10" creationId="{07D25FE4-C4C4-581E-76B5-C7E70545A14D}"/>
          </ac:spMkLst>
        </pc:spChg>
        <pc:spChg chg="add del mod modVis">
          <ac:chgData name="Shane O'Connor" userId="ed976c21-d216-4f58-89dd-c6da99bc49a9" providerId="ADAL" clId="{E0DCBDF7-18B3-44D9-9D63-711C469D7D0A}" dt="2024-09-27T11:11:26.771" v="2316"/>
          <ac:spMkLst>
            <pc:docMk/>
            <pc:sldMk cId="1260301576" sldId="345"/>
            <ac:spMk id="11" creationId="{1D5C9892-D071-E407-4886-50F77526EBD3}"/>
          </ac:spMkLst>
        </pc:spChg>
        <pc:spChg chg="add del mod modVis">
          <ac:chgData name="Shane O'Connor" userId="ed976c21-d216-4f58-89dd-c6da99bc49a9" providerId="ADAL" clId="{E0DCBDF7-18B3-44D9-9D63-711C469D7D0A}" dt="2024-09-27T11:11:44.169" v="2344"/>
          <ac:spMkLst>
            <pc:docMk/>
            <pc:sldMk cId="1260301576" sldId="345"/>
            <ac:spMk id="12" creationId="{C05FB1CA-1B8F-B45F-F5E4-D1A4E86F4FE2}"/>
          </ac:spMkLst>
        </pc:spChg>
        <pc:spChg chg="add del mod modVis">
          <ac:chgData name="Shane O'Connor" userId="ed976c21-d216-4f58-89dd-c6da99bc49a9" providerId="ADAL" clId="{E0DCBDF7-18B3-44D9-9D63-711C469D7D0A}" dt="2024-09-27T11:11:56.935" v="2397"/>
          <ac:spMkLst>
            <pc:docMk/>
            <pc:sldMk cId="1260301576" sldId="345"/>
            <ac:spMk id="13" creationId="{03A8561F-9B1C-EC10-2568-F66161E64A33}"/>
          </ac:spMkLst>
        </pc:spChg>
        <pc:spChg chg="add del mod modVis">
          <ac:chgData name="Shane O'Connor" userId="ed976c21-d216-4f58-89dd-c6da99bc49a9" providerId="ADAL" clId="{E0DCBDF7-18B3-44D9-9D63-711C469D7D0A}" dt="2024-09-27T11:12:03.371" v="2423"/>
          <ac:spMkLst>
            <pc:docMk/>
            <pc:sldMk cId="1260301576" sldId="345"/>
            <ac:spMk id="14" creationId="{A4BCA7E4-E7ED-2D89-736C-7F2EB4BA47A3}"/>
          </ac:spMkLst>
        </pc:spChg>
        <pc:spChg chg="add del mod modVis">
          <ac:chgData name="Shane O'Connor" userId="ed976c21-d216-4f58-89dd-c6da99bc49a9" providerId="ADAL" clId="{E0DCBDF7-18B3-44D9-9D63-711C469D7D0A}" dt="2024-09-27T11:12:04.610" v="2449"/>
          <ac:spMkLst>
            <pc:docMk/>
            <pc:sldMk cId="1260301576" sldId="345"/>
            <ac:spMk id="15" creationId="{46D67909-8E74-208D-E9CA-9889253EAA4C}"/>
          </ac:spMkLst>
        </pc:spChg>
        <pc:spChg chg="add del mod modVis">
          <ac:chgData name="Shane O'Connor" userId="ed976c21-d216-4f58-89dd-c6da99bc49a9" providerId="ADAL" clId="{E0DCBDF7-18B3-44D9-9D63-711C469D7D0A}" dt="2024-09-27T11:12:05.882" v="2475"/>
          <ac:spMkLst>
            <pc:docMk/>
            <pc:sldMk cId="1260301576" sldId="345"/>
            <ac:spMk id="16" creationId="{29D36626-AE8D-A698-8C8B-5AC70E1ADA4A}"/>
          </ac:spMkLst>
        </pc:spChg>
        <pc:spChg chg="add del mod modVis">
          <ac:chgData name="Shane O'Connor" userId="ed976c21-d216-4f58-89dd-c6da99bc49a9" providerId="ADAL" clId="{E0DCBDF7-18B3-44D9-9D63-711C469D7D0A}" dt="2024-09-27T11:12:16.329" v="2512"/>
          <ac:spMkLst>
            <pc:docMk/>
            <pc:sldMk cId="1260301576" sldId="345"/>
            <ac:spMk id="17" creationId="{6C105AA2-1CA0-4130-60E1-DACD096C6E29}"/>
          </ac:spMkLst>
        </pc:spChg>
        <pc:graphicFrameChg chg="add mod ord modVis">
          <ac:chgData name="Shane O'Connor" userId="ed976c21-d216-4f58-89dd-c6da99bc49a9" providerId="ADAL" clId="{E0DCBDF7-18B3-44D9-9D63-711C469D7D0A}" dt="2024-09-27T11:12:16.329" v="2514"/>
          <ac:graphicFrameMkLst>
            <pc:docMk/>
            <pc:sldMk cId="1260301576" sldId="345"/>
            <ac:graphicFrameMk id="6" creationId="{6B066DE1-B199-5E45-FFB9-AD67751CCF35}"/>
          </ac:graphicFrameMkLst>
        </pc:graphicFrameChg>
        <pc:picChg chg="mod modCrop">
          <ac:chgData name="Shane O'Connor" userId="ed976c21-d216-4f58-89dd-c6da99bc49a9" providerId="ADAL" clId="{E0DCBDF7-18B3-44D9-9D63-711C469D7D0A}" dt="2024-09-27T11:11:33.371" v="2319" actId="732"/>
          <ac:picMkLst>
            <pc:docMk/>
            <pc:sldMk cId="1260301576" sldId="345"/>
            <ac:picMk id="5" creationId="{7EC800BD-08B6-2C85-2ED6-FB012F8B5908}"/>
          </ac:picMkLst>
        </pc:picChg>
      </pc:sldChg>
      <pc:sldChg chg="addSp delSp modSp mod">
        <pc:chgData name="Shane O'Connor" userId="ed976c21-d216-4f58-89dd-c6da99bc49a9" providerId="ADAL" clId="{E0DCBDF7-18B3-44D9-9D63-711C469D7D0A}" dt="2024-09-27T11:14:49.968" v="2933"/>
        <pc:sldMkLst>
          <pc:docMk/>
          <pc:sldMk cId="3641417402" sldId="346"/>
        </pc:sldMkLst>
        <pc:spChg chg="mod">
          <ac:chgData name="Shane O'Connor" userId="ed976c21-d216-4f58-89dd-c6da99bc49a9" providerId="ADAL" clId="{E0DCBDF7-18B3-44D9-9D63-711C469D7D0A}" dt="2024-09-27T11:14:49.946" v="2909" actId="948"/>
          <ac:spMkLst>
            <pc:docMk/>
            <pc:sldMk cId="3641417402" sldId="346"/>
            <ac:spMk id="2" creationId="{195A3896-3BC9-67D6-B5AF-5718A0498A66}"/>
          </ac:spMkLst>
        </pc:spChg>
        <pc:spChg chg="add del mod modVis">
          <ac:chgData name="Shane O'Connor" userId="ed976c21-d216-4f58-89dd-c6da99bc49a9" providerId="ADAL" clId="{E0DCBDF7-18B3-44D9-9D63-711C469D7D0A}" dt="2024-09-27T11:14:27.940" v="2579"/>
          <ac:spMkLst>
            <pc:docMk/>
            <pc:sldMk cId="3641417402" sldId="346"/>
            <ac:spMk id="3" creationId="{B4C32E29-8A0B-1641-D056-DA7DC350E705}"/>
          </ac:spMkLst>
        </pc:spChg>
        <pc:spChg chg="add del mod modVis">
          <ac:chgData name="Shane O'Connor" userId="ed976c21-d216-4f58-89dd-c6da99bc49a9" providerId="ADAL" clId="{E0DCBDF7-18B3-44D9-9D63-711C469D7D0A}" dt="2024-09-27T11:14:29.327" v="2621"/>
          <ac:spMkLst>
            <pc:docMk/>
            <pc:sldMk cId="3641417402" sldId="346"/>
            <ac:spMk id="7" creationId="{81679D60-71FB-6F1C-690E-A618DCD9664F}"/>
          </ac:spMkLst>
        </pc:spChg>
        <pc:spChg chg="add del mod modVis">
          <ac:chgData name="Shane O'Connor" userId="ed976c21-d216-4f58-89dd-c6da99bc49a9" providerId="ADAL" clId="{E0DCBDF7-18B3-44D9-9D63-711C469D7D0A}" dt="2024-09-27T11:14:30.849" v="2666"/>
          <ac:spMkLst>
            <pc:docMk/>
            <pc:sldMk cId="3641417402" sldId="346"/>
            <ac:spMk id="8" creationId="{6EB09AE3-F234-3641-0123-3AD010358872}"/>
          </ac:spMkLst>
        </pc:spChg>
        <pc:spChg chg="add del mod modVis">
          <ac:chgData name="Shane O'Connor" userId="ed976c21-d216-4f58-89dd-c6da99bc49a9" providerId="ADAL" clId="{E0DCBDF7-18B3-44D9-9D63-711C469D7D0A}" dt="2024-09-27T11:14:35.776" v="2773"/>
          <ac:spMkLst>
            <pc:docMk/>
            <pc:sldMk cId="3641417402" sldId="346"/>
            <ac:spMk id="9" creationId="{61019A01-F29A-9403-11C5-EAD570A864B6}"/>
          </ac:spMkLst>
        </pc:spChg>
        <pc:spChg chg="add del mod modVis">
          <ac:chgData name="Shane O'Connor" userId="ed976c21-d216-4f58-89dd-c6da99bc49a9" providerId="ADAL" clId="{E0DCBDF7-18B3-44D9-9D63-711C469D7D0A}" dt="2024-09-27T11:14:36.728" v="2801"/>
          <ac:spMkLst>
            <pc:docMk/>
            <pc:sldMk cId="3641417402" sldId="346"/>
            <ac:spMk id="10" creationId="{149EEB8C-1749-45B4-7D7B-610CC580184E}"/>
          </ac:spMkLst>
        </pc:spChg>
        <pc:spChg chg="add del mod modVis">
          <ac:chgData name="Shane O'Connor" userId="ed976c21-d216-4f58-89dd-c6da99bc49a9" providerId="ADAL" clId="{E0DCBDF7-18B3-44D9-9D63-711C469D7D0A}" dt="2024-09-27T11:14:42.104" v="2827"/>
          <ac:spMkLst>
            <pc:docMk/>
            <pc:sldMk cId="3641417402" sldId="346"/>
            <ac:spMk id="11" creationId="{660EA7D8-D1D0-7694-7F18-7DF37FB36786}"/>
          </ac:spMkLst>
        </pc:spChg>
        <pc:spChg chg="add del mod modVis">
          <ac:chgData name="Shane O'Connor" userId="ed976c21-d216-4f58-89dd-c6da99bc49a9" providerId="ADAL" clId="{E0DCBDF7-18B3-44D9-9D63-711C469D7D0A}" dt="2024-09-27T11:14:43.359" v="2853"/>
          <ac:spMkLst>
            <pc:docMk/>
            <pc:sldMk cId="3641417402" sldId="346"/>
            <ac:spMk id="12" creationId="{68056BDF-6B01-CD6C-719B-F290897C3F62}"/>
          </ac:spMkLst>
        </pc:spChg>
        <pc:spChg chg="add del mod modVis">
          <ac:chgData name="Shane O'Connor" userId="ed976c21-d216-4f58-89dd-c6da99bc49a9" providerId="ADAL" clId="{E0DCBDF7-18B3-44D9-9D63-711C469D7D0A}" dt="2024-09-27T11:14:46.914" v="2879"/>
          <ac:spMkLst>
            <pc:docMk/>
            <pc:sldMk cId="3641417402" sldId="346"/>
            <ac:spMk id="13" creationId="{CC308910-B6A1-85E9-A852-5E73D6A3FCF3}"/>
          </ac:spMkLst>
        </pc:spChg>
        <pc:spChg chg="add del mod modVis">
          <ac:chgData name="Shane O'Connor" userId="ed976c21-d216-4f58-89dd-c6da99bc49a9" providerId="ADAL" clId="{E0DCBDF7-18B3-44D9-9D63-711C469D7D0A}" dt="2024-09-27T11:14:48.658" v="2905"/>
          <ac:spMkLst>
            <pc:docMk/>
            <pc:sldMk cId="3641417402" sldId="346"/>
            <ac:spMk id="14" creationId="{96A3DEFD-FD74-C8AB-1B74-DC37CE2858AE}"/>
          </ac:spMkLst>
        </pc:spChg>
        <pc:spChg chg="add del mod modVis">
          <ac:chgData name="Shane O'Connor" userId="ed976c21-d216-4f58-89dd-c6da99bc49a9" providerId="ADAL" clId="{E0DCBDF7-18B3-44D9-9D63-711C469D7D0A}" dt="2024-09-27T11:14:49.968" v="2931"/>
          <ac:spMkLst>
            <pc:docMk/>
            <pc:sldMk cId="3641417402" sldId="346"/>
            <ac:spMk id="15" creationId="{3A7378C0-CACF-7072-7A33-30046C7B152E}"/>
          </ac:spMkLst>
        </pc:spChg>
        <pc:graphicFrameChg chg="add mod ord modVis">
          <ac:chgData name="Shane O'Connor" userId="ed976c21-d216-4f58-89dd-c6da99bc49a9" providerId="ADAL" clId="{E0DCBDF7-18B3-44D9-9D63-711C469D7D0A}" dt="2024-09-27T11:14:49.968" v="2933"/>
          <ac:graphicFrameMkLst>
            <pc:docMk/>
            <pc:sldMk cId="3641417402" sldId="346"/>
            <ac:graphicFrameMk id="6" creationId="{05FE81E7-AA5B-CA4C-9DB7-86588EED50A0}"/>
          </ac:graphicFrameMkLst>
        </pc:graphicFrameChg>
      </pc:sldChg>
      <pc:sldChg chg="addSp delSp modSp mod">
        <pc:chgData name="Shane O'Connor" userId="ed976c21-d216-4f58-89dd-c6da99bc49a9" providerId="ADAL" clId="{E0DCBDF7-18B3-44D9-9D63-711C469D7D0A}" dt="2024-09-27T11:15:35.641" v="3049"/>
        <pc:sldMkLst>
          <pc:docMk/>
          <pc:sldMk cId="954636685" sldId="347"/>
        </pc:sldMkLst>
        <pc:spChg chg="mod">
          <ac:chgData name="Shane O'Connor" userId="ed976c21-d216-4f58-89dd-c6da99bc49a9" providerId="ADAL" clId="{E0DCBDF7-18B3-44D9-9D63-711C469D7D0A}" dt="2024-09-27T11:15:35.619" v="3025" actId="948"/>
          <ac:spMkLst>
            <pc:docMk/>
            <pc:sldMk cId="954636685" sldId="347"/>
            <ac:spMk id="2" creationId="{195A3896-3BC9-67D6-B5AF-5718A0498A66}"/>
          </ac:spMkLst>
        </pc:spChg>
        <pc:spChg chg="add del mod modVis">
          <ac:chgData name="Shane O'Connor" userId="ed976c21-d216-4f58-89dd-c6da99bc49a9" providerId="ADAL" clId="{E0DCBDF7-18B3-44D9-9D63-711C469D7D0A}" dt="2024-09-27T11:15:25.923" v="2957"/>
          <ac:spMkLst>
            <pc:docMk/>
            <pc:sldMk cId="954636685" sldId="347"/>
            <ac:spMk id="3" creationId="{309CBDDF-F210-5405-2813-7B762E0888DB}"/>
          </ac:spMkLst>
        </pc:spChg>
        <pc:spChg chg="add del mod modVis">
          <ac:chgData name="Shane O'Connor" userId="ed976c21-d216-4f58-89dd-c6da99bc49a9" providerId="ADAL" clId="{E0DCBDF7-18B3-44D9-9D63-711C469D7D0A}" dt="2024-09-27T11:15:32.061" v="2995"/>
          <ac:spMkLst>
            <pc:docMk/>
            <pc:sldMk cId="954636685" sldId="347"/>
            <ac:spMk id="7" creationId="{C8F5CE0E-16F3-221B-0617-8D7335F3DFA1}"/>
          </ac:spMkLst>
        </pc:spChg>
        <pc:spChg chg="add del mod modVis">
          <ac:chgData name="Shane O'Connor" userId="ed976c21-d216-4f58-89dd-c6da99bc49a9" providerId="ADAL" clId="{E0DCBDF7-18B3-44D9-9D63-711C469D7D0A}" dt="2024-09-27T11:15:34.165" v="3021"/>
          <ac:spMkLst>
            <pc:docMk/>
            <pc:sldMk cId="954636685" sldId="347"/>
            <ac:spMk id="8" creationId="{72535D8F-AB97-B21A-58A7-DBB2AC6C5170}"/>
          </ac:spMkLst>
        </pc:spChg>
        <pc:spChg chg="add del mod modVis">
          <ac:chgData name="Shane O'Connor" userId="ed976c21-d216-4f58-89dd-c6da99bc49a9" providerId="ADAL" clId="{E0DCBDF7-18B3-44D9-9D63-711C469D7D0A}" dt="2024-09-27T11:15:35.641" v="3047"/>
          <ac:spMkLst>
            <pc:docMk/>
            <pc:sldMk cId="954636685" sldId="347"/>
            <ac:spMk id="9" creationId="{5F348D01-12FE-9CCC-7196-024B3798A45F}"/>
          </ac:spMkLst>
        </pc:spChg>
        <pc:graphicFrameChg chg="add mod ord modVis">
          <ac:chgData name="Shane O'Connor" userId="ed976c21-d216-4f58-89dd-c6da99bc49a9" providerId="ADAL" clId="{E0DCBDF7-18B3-44D9-9D63-711C469D7D0A}" dt="2024-09-27T11:15:35.641" v="3049"/>
          <ac:graphicFrameMkLst>
            <pc:docMk/>
            <pc:sldMk cId="954636685" sldId="347"/>
            <ac:graphicFrameMk id="5" creationId="{AD1D51BD-42E6-0C2D-BB2E-F1B6C8BC9A23}"/>
          </ac:graphicFrameMkLst>
        </pc:graphicFrameChg>
      </pc:sldChg>
      <pc:sldChg chg="addSp delSp modSp mod chgLayout">
        <pc:chgData name="Shane O'Connor" userId="ed976c21-d216-4f58-89dd-c6da99bc49a9" providerId="ADAL" clId="{E0DCBDF7-18B3-44D9-9D63-711C469D7D0A}" dt="2024-09-27T11:18:28.180" v="3866"/>
        <pc:sldMkLst>
          <pc:docMk/>
          <pc:sldMk cId="4292569793" sldId="348"/>
        </pc:sldMkLst>
        <pc:spChg chg="mod ord">
          <ac:chgData name="Shane O'Connor" userId="ed976c21-d216-4f58-89dd-c6da99bc49a9" providerId="ADAL" clId="{E0DCBDF7-18B3-44D9-9D63-711C469D7D0A}" dt="2024-09-27T11:18:28.149" v="3842" actId="948"/>
          <ac:spMkLst>
            <pc:docMk/>
            <pc:sldMk cId="4292569793" sldId="348"/>
            <ac:spMk id="2" creationId="{195A3896-3BC9-67D6-B5AF-5718A0498A66}"/>
          </ac:spMkLst>
        </pc:spChg>
        <pc:spChg chg="add del mod modVis">
          <ac:chgData name="Shane O'Connor" userId="ed976c21-d216-4f58-89dd-c6da99bc49a9" providerId="ADAL" clId="{E0DCBDF7-18B3-44D9-9D63-711C469D7D0A}" dt="2024-09-27T11:15:54.956" v="3073"/>
          <ac:spMkLst>
            <pc:docMk/>
            <pc:sldMk cId="4292569793" sldId="348"/>
            <ac:spMk id="3" creationId="{D4131571-E7E3-13B1-BD30-85AC06856DD6}"/>
          </ac:spMkLst>
        </pc:spChg>
        <pc:spChg chg="mod ord">
          <ac:chgData name="Shane O'Connor" userId="ed976c21-d216-4f58-89dd-c6da99bc49a9" providerId="ADAL" clId="{E0DCBDF7-18B3-44D9-9D63-711C469D7D0A}" dt="2024-09-27T11:16:00.469" v="3114" actId="700"/>
          <ac:spMkLst>
            <pc:docMk/>
            <pc:sldMk cId="4292569793" sldId="348"/>
            <ac:spMk id="4" creationId="{6A618894-2469-A62C-CE3C-BEC8FB300574}"/>
          </ac:spMkLst>
        </pc:spChg>
        <pc:spChg chg="add del mod modVis">
          <ac:chgData name="Shane O'Connor" userId="ed976c21-d216-4f58-89dd-c6da99bc49a9" providerId="ADAL" clId="{E0DCBDF7-18B3-44D9-9D63-711C469D7D0A}" dt="2024-09-27T11:15:58.363" v="3111"/>
          <ac:spMkLst>
            <pc:docMk/>
            <pc:sldMk cId="4292569793" sldId="348"/>
            <ac:spMk id="7" creationId="{E7A1B2C5-2749-0DC4-1880-34F565C70CAF}"/>
          </ac:spMkLst>
        </pc:spChg>
        <pc:spChg chg="add del mod ord">
          <ac:chgData name="Shane O'Connor" userId="ed976c21-d216-4f58-89dd-c6da99bc49a9" providerId="ADAL" clId="{E0DCBDF7-18B3-44D9-9D63-711C469D7D0A}" dt="2024-09-27T11:16:03.817" v="3140" actId="478"/>
          <ac:spMkLst>
            <pc:docMk/>
            <pc:sldMk cId="4292569793" sldId="348"/>
            <ac:spMk id="8" creationId="{37E74575-4884-9F9F-2970-1D5123F32BCD}"/>
          </ac:spMkLst>
        </pc:spChg>
        <pc:spChg chg="add del mod modVis">
          <ac:chgData name="Shane O'Connor" userId="ed976c21-d216-4f58-89dd-c6da99bc49a9" providerId="ADAL" clId="{E0DCBDF7-18B3-44D9-9D63-711C469D7D0A}" dt="2024-09-27T11:16:01.077" v="3137"/>
          <ac:spMkLst>
            <pc:docMk/>
            <pc:sldMk cId="4292569793" sldId="348"/>
            <ac:spMk id="9" creationId="{C9FAEC86-407E-1C9F-33E2-EEE10CD14DF4}"/>
          </ac:spMkLst>
        </pc:spChg>
        <pc:spChg chg="add del mod modVis">
          <ac:chgData name="Shane O'Connor" userId="ed976c21-d216-4f58-89dd-c6da99bc49a9" providerId="ADAL" clId="{E0DCBDF7-18B3-44D9-9D63-711C469D7D0A}" dt="2024-09-27T11:17:42.939" v="3177"/>
          <ac:spMkLst>
            <pc:docMk/>
            <pc:sldMk cId="4292569793" sldId="348"/>
            <ac:spMk id="10" creationId="{DAF4D57A-9F92-4D9D-0D38-0DE3CCB96D35}"/>
          </ac:spMkLst>
        </pc:spChg>
        <pc:spChg chg="add del mod modVis">
          <ac:chgData name="Shane O'Connor" userId="ed976c21-d216-4f58-89dd-c6da99bc49a9" providerId="ADAL" clId="{E0DCBDF7-18B3-44D9-9D63-711C469D7D0A}" dt="2024-09-27T11:17:44.126" v="3208"/>
          <ac:spMkLst>
            <pc:docMk/>
            <pc:sldMk cId="4292569793" sldId="348"/>
            <ac:spMk id="11" creationId="{3DDB4FC8-3215-B223-3000-27289E332180}"/>
          </ac:spMkLst>
        </pc:spChg>
        <pc:spChg chg="add del mod modVis">
          <ac:chgData name="Shane O'Connor" userId="ed976c21-d216-4f58-89dd-c6da99bc49a9" providerId="ADAL" clId="{E0DCBDF7-18B3-44D9-9D63-711C469D7D0A}" dt="2024-09-27T11:17:45.829" v="3245"/>
          <ac:spMkLst>
            <pc:docMk/>
            <pc:sldMk cId="4292569793" sldId="348"/>
            <ac:spMk id="12" creationId="{4FCAA24F-6252-EFFC-5117-6C5C33EB116B}"/>
          </ac:spMkLst>
        </pc:spChg>
        <pc:spChg chg="add del mod modVis">
          <ac:chgData name="Shane O'Connor" userId="ed976c21-d216-4f58-89dd-c6da99bc49a9" providerId="ADAL" clId="{E0DCBDF7-18B3-44D9-9D63-711C469D7D0A}" dt="2024-09-27T11:17:48.379" v="3280"/>
          <ac:spMkLst>
            <pc:docMk/>
            <pc:sldMk cId="4292569793" sldId="348"/>
            <ac:spMk id="13" creationId="{2E11FF0A-D1AE-4DA5-FF07-E63B8CD6B192}"/>
          </ac:spMkLst>
        </pc:spChg>
        <pc:spChg chg="add del mod modVis">
          <ac:chgData name="Shane O'Connor" userId="ed976c21-d216-4f58-89dd-c6da99bc49a9" providerId="ADAL" clId="{E0DCBDF7-18B3-44D9-9D63-711C469D7D0A}" dt="2024-09-27T11:17:49.743" v="3312"/>
          <ac:spMkLst>
            <pc:docMk/>
            <pc:sldMk cId="4292569793" sldId="348"/>
            <ac:spMk id="14" creationId="{6A8A1DB2-5945-275C-2DC3-C786B64C91C2}"/>
          </ac:spMkLst>
        </pc:spChg>
        <pc:spChg chg="add del mod modVis">
          <ac:chgData name="Shane O'Connor" userId="ed976c21-d216-4f58-89dd-c6da99bc49a9" providerId="ADAL" clId="{E0DCBDF7-18B3-44D9-9D63-711C469D7D0A}" dt="2024-09-27T11:17:50.373" v="3340"/>
          <ac:spMkLst>
            <pc:docMk/>
            <pc:sldMk cId="4292569793" sldId="348"/>
            <ac:spMk id="15" creationId="{C7B515E8-9AB3-8113-78EF-684CC276289F}"/>
          </ac:spMkLst>
        </pc:spChg>
        <pc:spChg chg="add del mod modVis">
          <ac:chgData name="Shane O'Connor" userId="ed976c21-d216-4f58-89dd-c6da99bc49a9" providerId="ADAL" clId="{E0DCBDF7-18B3-44D9-9D63-711C469D7D0A}" dt="2024-09-27T11:17:51.962" v="3371"/>
          <ac:spMkLst>
            <pc:docMk/>
            <pc:sldMk cId="4292569793" sldId="348"/>
            <ac:spMk id="16" creationId="{2EA7FF64-B5C4-5826-84D2-469FBBF72A95}"/>
          </ac:spMkLst>
        </pc:spChg>
        <pc:spChg chg="add del mod modVis">
          <ac:chgData name="Shane O'Connor" userId="ed976c21-d216-4f58-89dd-c6da99bc49a9" providerId="ADAL" clId="{E0DCBDF7-18B3-44D9-9D63-711C469D7D0A}" dt="2024-09-27T11:17:55.632" v="3422"/>
          <ac:spMkLst>
            <pc:docMk/>
            <pc:sldMk cId="4292569793" sldId="348"/>
            <ac:spMk id="17" creationId="{CA52E3D6-3FFD-4087-3828-4EC566380D9C}"/>
          </ac:spMkLst>
        </pc:spChg>
        <pc:spChg chg="add del mod modVis">
          <ac:chgData name="Shane O'Connor" userId="ed976c21-d216-4f58-89dd-c6da99bc49a9" providerId="ADAL" clId="{E0DCBDF7-18B3-44D9-9D63-711C469D7D0A}" dt="2024-09-27T11:18:00.028" v="3460"/>
          <ac:spMkLst>
            <pc:docMk/>
            <pc:sldMk cId="4292569793" sldId="348"/>
            <ac:spMk id="18" creationId="{F5F03D79-73DF-04DC-0BD7-7FC21D661962}"/>
          </ac:spMkLst>
        </pc:spChg>
        <pc:spChg chg="add del mod modVis">
          <ac:chgData name="Shane O'Connor" userId="ed976c21-d216-4f58-89dd-c6da99bc49a9" providerId="ADAL" clId="{E0DCBDF7-18B3-44D9-9D63-711C469D7D0A}" dt="2024-09-27T11:18:04.339" v="3492"/>
          <ac:spMkLst>
            <pc:docMk/>
            <pc:sldMk cId="4292569793" sldId="348"/>
            <ac:spMk id="19" creationId="{BD76A8CC-873A-574B-3E59-779547A60C38}"/>
          </ac:spMkLst>
        </pc:spChg>
        <pc:spChg chg="add del mod modVis">
          <ac:chgData name="Shane O'Connor" userId="ed976c21-d216-4f58-89dd-c6da99bc49a9" providerId="ADAL" clId="{E0DCBDF7-18B3-44D9-9D63-711C469D7D0A}" dt="2024-09-27T11:18:06.859" v="3530"/>
          <ac:spMkLst>
            <pc:docMk/>
            <pc:sldMk cId="4292569793" sldId="348"/>
            <ac:spMk id="20" creationId="{10B5055F-D2BE-EDF5-DB51-EC11D535FE8A}"/>
          </ac:spMkLst>
        </pc:spChg>
        <pc:spChg chg="add del mod modVis">
          <ac:chgData name="Shane O'Connor" userId="ed976c21-d216-4f58-89dd-c6da99bc49a9" providerId="ADAL" clId="{E0DCBDF7-18B3-44D9-9D63-711C469D7D0A}" dt="2024-09-27T11:18:09.852" v="3573"/>
          <ac:spMkLst>
            <pc:docMk/>
            <pc:sldMk cId="4292569793" sldId="348"/>
            <ac:spMk id="21" creationId="{09EE5F24-B360-F48C-7CA7-99B31CB2E898}"/>
          </ac:spMkLst>
        </pc:spChg>
        <pc:spChg chg="add del mod modVis">
          <ac:chgData name="Shane O'Connor" userId="ed976c21-d216-4f58-89dd-c6da99bc49a9" providerId="ADAL" clId="{E0DCBDF7-18B3-44D9-9D63-711C469D7D0A}" dt="2024-09-27T11:18:10.463" v="3601"/>
          <ac:spMkLst>
            <pc:docMk/>
            <pc:sldMk cId="4292569793" sldId="348"/>
            <ac:spMk id="22" creationId="{DAD6CA6A-9DA5-F364-9850-27C0E97632F7}"/>
          </ac:spMkLst>
        </pc:spChg>
        <pc:spChg chg="add del mod modVis">
          <ac:chgData name="Shane O'Connor" userId="ed976c21-d216-4f58-89dd-c6da99bc49a9" providerId="ADAL" clId="{E0DCBDF7-18B3-44D9-9D63-711C469D7D0A}" dt="2024-09-27T11:18:11.143" v="3628"/>
          <ac:spMkLst>
            <pc:docMk/>
            <pc:sldMk cId="4292569793" sldId="348"/>
            <ac:spMk id="23" creationId="{E212409E-5641-BAFE-86AD-D5F6A5445D2C}"/>
          </ac:spMkLst>
        </pc:spChg>
        <pc:spChg chg="add del mod modVis">
          <ac:chgData name="Shane O'Connor" userId="ed976c21-d216-4f58-89dd-c6da99bc49a9" providerId="ADAL" clId="{E0DCBDF7-18B3-44D9-9D63-711C469D7D0A}" dt="2024-09-27T11:18:16.763" v="3785"/>
          <ac:spMkLst>
            <pc:docMk/>
            <pc:sldMk cId="4292569793" sldId="348"/>
            <ac:spMk id="24" creationId="{A264969C-C1DB-1A4A-7B14-AB252E1AE921}"/>
          </ac:spMkLst>
        </pc:spChg>
        <pc:spChg chg="add del mod modVis">
          <ac:chgData name="Shane O'Connor" userId="ed976c21-d216-4f58-89dd-c6da99bc49a9" providerId="ADAL" clId="{E0DCBDF7-18B3-44D9-9D63-711C469D7D0A}" dt="2024-09-27T11:18:22.766" v="3811"/>
          <ac:spMkLst>
            <pc:docMk/>
            <pc:sldMk cId="4292569793" sldId="348"/>
            <ac:spMk id="25" creationId="{EB99F488-7F85-B730-F9FC-880002E6B5F6}"/>
          </ac:spMkLst>
        </pc:spChg>
        <pc:spChg chg="add del mod modVis">
          <ac:chgData name="Shane O'Connor" userId="ed976c21-d216-4f58-89dd-c6da99bc49a9" providerId="ADAL" clId="{E0DCBDF7-18B3-44D9-9D63-711C469D7D0A}" dt="2024-09-27T11:18:26.171" v="3838"/>
          <ac:spMkLst>
            <pc:docMk/>
            <pc:sldMk cId="4292569793" sldId="348"/>
            <ac:spMk id="26" creationId="{B9E915A4-E325-723E-D32E-033D3D3C8F73}"/>
          </ac:spMkLst>
        </pc:spChg>
        <pc:spChg chg="add del mod modVis">
          <ac:chgData name="Shane O'Connor" userId="ed976c21-d216-4f58-89dd-c6da99bc49a9" providerId="ADAL" clId="{E0DCBDF7-18B3-44D9-9D63-711C469D7D0A}" dt="2024-09-27T11:18:28.180" v="3864"/>
          <ac:spMkLst>
            <pc:docMk/>
            <pc:sldMk cId="4292569793" sldId="348"/>
            <ac:spMk id="27" creationId="{F8A07CC1-A4B6-0302-8FCD-D50B9FEC1453}"/>
          </ac:spMkLst>
        </pc:spChg>
        <pc:graphicFrameChg chg="add mod ord modVis">
          <ac:chgData name="Shane O'Connor" userId="ed976c21-d216-4f58-89dd-c6da99bc49a9" providerId="ADAL" clId="{E0DCBDF7-18B3-44D9-9D63-711C469D7D0A}" dt="2024-09-27T11:18:28.180" v="3866"/>
          <ac:graphicFrameMkLst>
            <pc:docMk/>
            <pc:sldMk cId="4292569793" sldId="348"/>
            <ac:graphicFrameMk id="6" creationId="{1975D447-47ED-06A0-92B9-6F5FE6DB6134}"/>
          </ac:graphicFrameMkLst>
        </pc:graphicFrameChg>
        <pc:picChg chg="mod">
          <ac:chgData name="Shane O'Connor" userId="ed976c21-d216-4f58-89dd-c6da99bc49a9" providerId="ADAL" clId="{E0DCBDF7-18B3-44D9-9D63-711C469D7D0A}" dt="2024-09-27T11:16:06.629" v="3145" actId="1035"/>
          <ac:picMkLst>
            <pc:docMk/>
            <pc:sldMk cId="4292569793" sldId="348"/>
            <ac:picMk id="5" creationId="{0B4FAD4F-D789-5946-C43F-B9530F1709DC}"/>
          </ac:picMkLst>
        </pc:picChg>
      </pc:sldChg>
      <pc:sldChg chg="addSp delSp modSp mod">
        <pc:chgData name="Shane O'Connor" userId="ed976c21-d216-4f58-89dd-c6da99bc49a9" providerId="ADAL" clId="{E0DCBDF7-18B3-44D9-9D63-711C469D7D0A}" dt="2024-09-27T11:18:52.741" v="3988" actId="1035"/>
        <pc:sldMkLst>
          <pc:docMk/>
          <pc:sldMk cId="237001734" sldId="349"/>
        </pc:sldMkLst>
        <pc:spChg chg="mod">
          <ac:chgData name="Shane O'Connor" userId="ed976c21-d216-4f58-89dd-c6da99bc49a9" providerId="ADAL" clId="{E0DCBDF7-18B3-44D9-9D63-711C469D7D0A}" dt="2024-09-27T11:18:49.497" v="3959" actId="948"/>
          <ac:spMkLst>
            <pc:docMk/>
            <pc:sldMk cId="237001734" sldId="349"/>
            <ac:spMk id="2" creationId="{195A3896-3BC9-67D6-B5AF-5718A0498A66}"/>
          </ac:spMkLst>
        </pc:spChg>
        <pc:spChg chg="add del mod modVis">
          <ac:chgData name="Shane O'Connor" userId="ed976c21-d216-4f58-89dd-c6da99bc49a9" providerId="ADAL" clId="{E0DCBDF7-18B3-44D9-9D63-711C469D7D0A}" dt="2024-09-27T11:18:39.030" v="3890"/>
          <ac:spMkLst>
            <pc:docMk/>
            <pc:sldMk cId="237001734" sldId="349"/>
            <ac:spMk id="3" creationId="{5D11A131-FD94-E380-A166-4992C6926943}"/>
          </ac:spMkLst>
        </pc:spChg>
        <pc:spChg chg="add del mod modVis">
          <ac:chgData name="Shane O'Connor" userId="ed976c21-d216-4f58-89dd-c6da99bc49a9" providerId="ADAL" clId="{E0DCBDF7-18B3-44D9-9D63-711C469D7D0A}" dt="2024-09-27T11:18:43.606" v="3928"/>
          <ac:spMkLst>
            <pc:docMk/>
            <pc:sldMk cId="237001734" sldId="349"/>
            <ac:spMk id="7" creationId="{6B3ECE1B-4015-48CE-3A5C-B56F430809E8}"/>
          </ac:spMkLst>
        </pc:spChg>
        <pc:spChg chg="add del mod modVis">
          <ac:chgData name="Shane O'Connor" userId="ed976c21-d216-4f58-89dd-c6da99bc49a9" providerId="ADAL" clId="{E0DCBDF7-18B3-44D9-9D63-711C469D7D0A}" dt="2024-09-27T11:18:47.181" v="3954"/>
          <ac:spMkLst>
            <pc:docMk/>
            <pc:sldMk cId="237001734" sldId="349"/>
            <ac:spMk id="8" creationId="{2F0300BE-8506-E810-82CC-8A91C0DFE6F6}"/>
          </ac:spMkLst>
        </pc:spChg>
        <pc:spChg chg="add del mod modVis">
          <ac:chgData name="Shane O'Connor" userId="ed976c21-d216-4f58-89dd-c6da99bc49a9" providerId="ADAL" clId="{E0DCBDF7-18B3-44D9-9D63-711C469D7D0A}" dt="2024-09-27T11:18:49.529" v="3981"/>
          <ac:spMkLst>
            <pc:docMk/>
            <pc:sldMk cId="237001734" sldId="349"/>
            <ac:spMk id="9" creationId="{8E83B5EE-F439-84EC-D6C9-6CD97181E759}"/>
          </ac:spMkLst>
        </pc:spChg>
        <pc:graphicFrameChg chg="add mod ord modVis">
          <ac:chgData name="Shane O'Connor" userId="ed976c21-d216-4f58-89dd-c6da99bc49a9" providerId="ADAL" clId="{E0DCBDF7-18B3-44D9-9D63-711C469D7D0A}" dt="2024-09-27T11:18:49.529" v="3983"/>
          <ac:graphicFrameMkLst>
            <pc:docMk/>
            <pc:sldMk cId="237001734" sldId="349"/>
            <ac:graphicFrameMk id="5" creationId="{AABDFE9A-BAF2-2571-C9FD-BA4332AEA10D}"/>
          </ac:graphicFrameMkLst>
        </pc:graphicFrameChg>
        <pc:picChg chg="mod">
          <ac:chgData name="Shane O'Connor" userId="ed976c21-d216-4f58-89dd-c6da99bc49a9" providerId="ADAL" clId="{E0DCBDF7-18B3-44D9-9D63-711C469D7D0A}" dt="2024-09-27T11:18:52.741" v="3988" actId="1035"/>
          <ac:picMkLst>
            <pc:docMk/>
            <pc:sldMk cId="237001734" sldId="349"/>
            <ac:picMk id="6" creationId="{AFE70178-68FF-156F-0EBE-122E06ED583A}"/>
          </ac:picMkLst>
        </pc:picChg>
      </pc:sldChg>
      <pc:sldChg chg="addSp delSp modSp add mod chgLayout">
        <pc:chgData name="Shane O'Connor" userId="ed976c21-d216-4f58-89dd-c6da99bc49a9" providerId="ADAL" clId="{E0DCBDF7-18B3-44D9-9D63-711C469D7D0A}" dt="2024-09-27T11:09:15.598" v="1724"/>
        <pc:sldMkLst>
          <pc:docMk/>
          <pc:sldMk cId="350563798" sldId="350"/>
        </pc:sldMkLst>
        <pc:spChg chg="mod ord">
          <ac:chgData name="Shane O'Connor" userId="ed976c21-d216-4f58-89dd-c6da99bc49a9" providerId="ADAL" clId="{E0DCBDF7-18B3-44D9-9D63-711C469D7D0A}" dt="2024-09-27T11:09:15.576" v="1700" actId="948"/>
          <ac:spMkLst>
            <pc:docMk/>
            <pc:sldMk cId="350563798" sldId="350"/>
            <ac:spMk id="2" creationId="{195A3896-3BC9-67D6-B5AF-5718A0498A66}"/>
          </ac:spMkLst>
        </pc:spChg>
        <pc:spChg chg="add del mod modVis">
          <ac:chgData name="Shane O'Connor" userId="ed976c21-d216-4f58-89dd-c6da99bc49a9" providerId="ADAL" clId="{E0DCBDF7-18B3-44D9-9D63-711C469D7D0A}" dt="2024-09-27T11:04:32.900" v="999"/>
          <ac:spMkLst>
            <pc:docMk/>
            <pc:sldMk cId="350563798" sldId="350"/>
            <ac:spMk id="3" creationId="{FD81A5D6-32E8-4D3B-58BB-992ACF7FB340}"/>
          </ac:spMkLst>
        </pc:spChg>
        <pc:spChg chg="mod ord">
          <ac:chgData name="Shane O'Connor" userId="ed976c21-d216-4f58-89dd-c6da99bc49a9" providerId="ADAL" clId="{E0DCBDF7-18B3-44D9-9D63-711C469D7D0A}" dt="2024-09-27T11:06:39.305" v="1032" actId="700"/>
          <ac:spMkLst>
            <pc:docMk/>
            <pc:sldMk cId="350563798" sldId="350"/>
            <ac:spMk id="4" creationId="{6A618894-2469-A62C-CE3C-BEC8FB300574}"/>
          </ac:spMkLst>
        </pc:spChg>
        <pc:spChg chg="add del mod modVis">
          <ac:chgData name="Shane O'Connor" userId="ed976c21-d216-4f58-89dd-c6da99bc49a9" providerId="ADAL" clId="{E0DCBDF7-18B3-44D9-9D63-711C469D7D0A}" dt="2024-09-27T11:04:34.013" v="1029"/>
          <ac:spMkLst>
            <pc:docMk/>
            <pc:sldMk cId="350563798" sldId="350"/>
            <ac:spMk id="7" creationId="{EEFA1CC7-9BB7-FC81-DE1B-536D8A5E8CF5}"/>
          </ac:spMkLst>
        </pc:spChg>
        <pc:spChg chg="add mod ord">
          <ac:chgData name="Shane O'Connor" userId="ed976c21-d216-4f58-89dd-c6da99bc49a9" providerId="ADAL" clId="{E0DCBDF7-18B3-44D9-9D63-711C469D7D0A}" dt="2024-09-27T11:08:47.454" v="1528" actId="20577"/>
          <ac:spMkLst>
            <pc:docMk/>
            <pc:sldMk cId="350563798" sldId="350"/>
            <ac:spMk id="9" creationId="{10743AC7-5261-E41B-E06B-5AB308ADCF4B}"/>
          </ac:spMkLst>
        </pc:spChg>
        <pc:spChg chg="add del mod modVis">
          <ac:chgData name="Shane O'Connor" userId="ed976c21-d216-4f58-89dd-c6da99bc49a9" providerId="ADAL" clId="{E0DCBDF7-18B3-44D9-9D63-711C469D7D0A}" dt="2024-09-27T11:06:39.940" v="1055"/>
          <ac:spMkLst>
            <pc:docMk/>
            <pc:sldMk cId="350563798" sldId="350"/>
            <ac:spMk id="10" creationId="{E38F8B08-B6BD-72B5-2CA6-56E5557ED250}"/>
          </ac:spMkLst>
        </pc:spChg>
        <pc:spChg chg="add del mod modVis">
          <ac:chgData name="Shane O'Connor" userId="ed976c21-d216-4f58-89dd-c6da99bc49a9" providerId="ADAL" clId="{E0DCBDF7-18B3-44D9-9D63-711C469D7D0A}" dt="2024-09-27T11:08:54.669" v="1559"/>
          <ac:spMkLst>
            <pc:docMk/>
            <pc:sldMk cId="350563798" sldId="350"/>
            <ac:spMk id="11" creationId="{272784CE-E3B9-A6C9-23D4-EAE6F5F128BA}"/>
          </ac:spMkLst>
        </pc:spChg>
        <pc:spChg chg="add del mod modVis">
          <ac:chgData name="Shane O'Connor" userId="ed976c21-d216-4f58-89dd-c6da99bc49a9" providerId="ADAL" clId="{E0DCBDF7-18B3-44D9-9D63-711C469D7D0A}" dt="2024-09-27T11:08:56.303" v="1593"/>
          <ac:spMkLst>
            <pc:docMk/>
            <pc:sldMk cId="350563798" sldId="350"/>
            <ac:spMk id="12" creationId="{A0C422E9-0B50-C035-C3B0-C79A4E52208A}"/>
          </ac:spMkLst>
        </pc:spChg>
        <pc:spChg chg="add del mod modVis">
          <ac:chgData name="Shane O'Connor" userId="ed976c21-d216-4f58-89dd-c6da99bc49a9" providerId="ADAL" clId="{E0DCBDF7-18B3-44D9-9D63-711C469D7D0A}" dt="2024-09-27T11:08:57.751" v="1628"/>
          <ac:spMkLst>
            <pc:docMk/>
            <pc:sldMk cId="350563798" sldId="350"/>
            <ac:spMk id="13" creationId="{C72FF2DF-CEF0-ED7D-DBFE-79810DCEB82D}"/>
          </ac:spMkLst>
        </pc:spChg>
        <pc:spChg chg="add del mod modVis">
          <ac:chgData name="Shane O'Connor" userId="ed976c21-d216-4f58-89dd-c6da99bc49a9" providerId="ADAL" clId="{E0DCBDF7-18B3-44D9-9D63-711C469D7D0A}" dt="2024-09-27T11:08:58.824" v="1658"/>
          <ac:spMkLst>
            <pc:docMk/>
            <pc:sldMk cId="350563798" sldId="350"/>
            <ac:spMk id="14" creationId="{0CD37DBD-D5B5-FC7A-6F68-5E83311B031B}"/>
          </ac:spMkLst>
        </pc:spChg>
        <pc:spChg chg="add del mod modVis">
          <ac:chgData name="Shane O'Connor" userId="ed976c21-d216-4f58-89dd-c6da99bc49a9" providerId="ADAL" clId="{E0DCBDF7-18B3-44D9-9D63-711C469D7D0A}" dt="2024-09-27T11:09:15.598" v="1722"/>
          <ac:spMkLst>
            <pc:docMk/>
            <pc:sldMk cId="350563798" sldId="350"/>
            <ac:spMk id="15" creationId="{43A20B2D-5F70-30C7-308B-E91C91D84A97}"/>
          </ac:spMkLst>
        </pc:spChg>
        <pc:graphicFrameChg chg="mod">
          <ac:chgData name="Shane O'Connor" userId="ed976c21-d216-4f58-89dd-c6da99bc49a9" providerId="ADAL" clId="{E0DCBDF7-18B3-44D9-9D63-711C469D7D0A}" dt="2024-09-27T11:09:15.598" v="1724"/>
          <ac:graphicFrameMkLst>
            <pc:docMk/>
            <pc:sldMk cId="350563798" sldId="350"/>
            <ac:graphicFrameMk id="6" creationId="{3CFE9D1A-ADE1-24D4-D5E3-2D70E6C3D33B}"/>
          </ac:graphicFrameMkLst>
        </pc:graphicFrameChg>
        <pc:picChg chg="del">
          <ac:chgData name="Shane O'Connor" userId="ed976c21-d216-4f58-89dd-c6da99bc49a9" providerId="ADAL" clId="{E0DCBDF7-18B3-44D9-9D63-711C469D7D0A}" dt="2024-09-27T11:03:17.577" v="858" actId="478"/>
          <ac:picMkLst>
            <pc:docMk/>
            <pc:sldMk cId="350563798" sldId="350"/>
            <ac:picMk id="5" creationId="{2EDE3BD2-366F-1345-C2AF-87CFC000A997}"/>
          </ac:picMkLst>
        </pc:picChg>
        <pc:picChg chg="mod">
          <ac:chgData name="Shane O'Connor" userId="ed976c21-d216-4f58-89dd-c6da99bc49a9" providerId="ADAL" clId="{E0DCBDF7-18B3-44D9-9D63-711C469D7D0A}" dt="2024-09-27T11:03:54.668" v="971" actId="1076"/>
          <ac:picMkLst>
            <pc:docMk/>
            <pc:sldMk cId="350563798" sldId="350"/>
            <ac:picMk id="8" creationId="{87749FC8-2FFE-71CC-4B4B-43F340B2DA03}"/>
          </ac:picMkLst>
        </pc:picChg>
      </pc:sldChg>
    </pc:docChg>
  </pc:docChgLst>
  <pc:docChgLst>
    <pc:chgData name="John Allen" userId="5ce638c8-b70f-4488-977f-58f29038d7b5" providerId="ADAL" clId="{7A43E89E-F26A-4608-92FD-77A0DCDDBF34}"/>
    <pc:docChg chg="undo custSel addSld delSld modSld sldOrd modSection">
      <pc:chgData name="John Allen" userId="5ce638c8-b70f-4488-977f-58f29038d7b5" providerId="ADAL" clId="{7A43E89E-F26A-4608-92FD-77A0DCDDBF34}" dt="2024-09-16T13:08:04.787" v="638" actId="1076"/>
      <pc:docMkLst>
        <pc:docMk/>
      </pc:docMkLst>
      <pc:sldChg chg="modSp mod">
        <pc:chgData name="John Allen" userId="5ce638c8-b70f-4488-977f-58f29038d7b5" providerId="ADAL" clId="{7A43E89E-F26A-4608-92FD-77A0DCDDBF34}" dt="2024-09-16T13:06:59.647" v="636" actId="14100"/>
        <pc:sldMkLst>
          <pc:docMk/>
          <pc:sldMk cId="2067194664" sldId="328"/>
        </pc:sldMkLst>
        <pc:spChg chg="mod">
          <ac:chgData name="John Allen" userId="5ce638c8-b70f-4488-977f-58f29038d7b5" providerId="ADAL" clId="{7A43E89E-F26A-4608-92FD-77A0DCDDBF34}" dt="2024-09-16T13:06:59.647" v="636" actId="14100"/>
          <ac:spMkLst>
            <pc:docMk/>
            <pc:sldMk cId="2067194664" sldId="328"/>
            <ac:spMk id="2" creationId="{915136BE-7352-4830-877F-D64FE43E405D}"/>
          </ac:spMkLst>
        </pc:spChg>
      </pc:sldChg>
      <pc:sldChg chg="modSp mod">
        <pc:chgData name="John Allen" userId="5ce638c8-b70f-4488-977f-58f29038d7b5" providerId="ADAL" clId="{7A43E89E-F26A-4608-92FD-77A0DCDDBF34}" dt="2024-09-16T11:49:09.393" v="4" actId="14100"/>
        <pc:sldMkLst>
          <pc:docMk/>
          <pc:sldMk cId="240967636" sldId="334"/>
        </pc:sldMkLst>
        <pc:spChg chg="mod">
          <ac:chgData name="John Allen" userId="5ce638c8-b70f-4488-977f-58f29038d7b5" providerId="ADAL" clId="{7A43E89E-F26A-4608-92FD-77A0DCDDBF34}" dt="2024-09-16T11:49:09.393" v="4" actId="14100"/>
          <ac:spMkLst>
            <pc:docMk/>
            <pc:sldMk cId="240967636" sldId="334"/>
            <ac:spMk id="2" creationId="{195A3896-3BC9-67D6-B5AF-5718A0498A66}"/>
          </ac:spMkLst>
        </pc:spChg>
      </pc:sldChg>
      <pc:sldChg chg="addSp delSp modSp add mod">
        <pc:chgData name="John Allen" userId="5ce638c8-b70f-4488-977f-58f29038d7b5" providerId="ADAL" clId="{7A43E89E-F26A-4608-92FD-77A0DCDDBF34}" dt="2024-09-16T11:50:01.456" v="14" actId="1076"/>
        <pc:sldMkLst>
          <pc:docMk/>
          <pc:sldMk cId="830865768" sldId="335"/>
        </pc:sldMkLst>
        <pc:spChg chg="mod">
          <ac:chgData name="John Allen" userId="5ce638c8-b70f-4488-977f-58f29038d7b5" providerId="ADAL" clId="{7A43E89E-F26A-4608-92FD-77A0DCDDBF34}" dt="2024-09-16T11:49:43.257" v="8" actId="20577"/>
          <ac:spMkLst>
            <pc:docMk/>
            <pc:sldMk cId="830865768" sldId="335"/>
            <ac:spMk id="2" creationId="{195A3896-3BC9-67D6-B5AF-5718A0498A66}"/>
          </ac:spMkLst>
        </pc:spChg>
        <pc:picChg chg="add mod">
          <ac:chgData name="John Allen" userId="5ce638c8-b70f-4488-977f-58f29038d7b5" providerId="ADAL" clId="{7A43E89E-F26A-4608-92FD-77A0DCDDBF34}" dt="2024-09-16T11:50:01.456" v="14" actId="1076"/>
          <ac:picMkLst>
            <pc:docMk/>
            <pc:sldMk cId="830865768" sldId="335"/>
            <ac:picMk id="5" creationId="{FFFA3077-65D7-0483-096B-8F5C41CFFADE}"/>
          </ac:picMkLst>
        </pc:picChg>
        <pc:picChg chg="del">
          <ac:chgData name="John Allen" userId="5ce638c8-b70f-4488-977f-58f29038d7b5" providerId="ADAL" clId="{7A43E89E-F26A-4608-92FD-77A0DCDDBF34}" dt="2024-09-16T11:49:46.220" v="9" actId="478"/>
          <ac:picMkLst>
            <pc:docMk/>
            <pc:sldMk cId="830865768" sldId="335"/>
            <ac:picMk id="7" creationId="{AAE85D1A-0F9C-68FC-A211-B4093F1661D7}"/>
          </ac:picMkLst>
        </pc:picChg>
      </pc:sldChg>
      <pc:sldChg chg="addSp delSp modSp add mod">
        <pc:chgData name="John Allen" userId="5ce638c8-b70f-4488-977f-58f29038d7b5" providerId="ADAL" clId="{7A43E89E-F26A-4608-92FD-77A0DCDDBF34}" dt="2024-09-16T12:41:58.627" v="109" actId="1076"/>
        <pc:sldMkLst>
          <pc:docMk/>
          <pc:sldMk cId="1302328370" sldId="336"/>
        </pc:sldMkLst>
        <pc:spChg chg="mod">
          <ac:chgData name="John Allen" userId="5ce638c8-b70f-4488-977f-58f29038d7b5" providerId="ADAL" clId="{7A43E89E-F26A-4608-92FD-77A0DCDDBF34}" dt="2024-09-16T12:41:58.627" v="109" actId="1076"/>
          <ac:spMkLst>
            <pc:docMk/>
            <pc:sldMk cId="1302328370" sldId="336"/>
            <ac:spMk id="2" creationId="{195A3896-3BC9-67D6-B5AF-5718A0498A66}"/>
          </ac:spMkLst>
        </pc:spChg>
        <pc:picChg chg="del">
          <ac:chgData name="John Allen" userId="5ce638c8-b70f-4488-977f-58f29038d7b5" providerId="ADAL" clId="{7A43E89E-F26A-4608-92FD-77A0DCDDBF34}" dt="2024-09-16T11:50:44.506" v="19" actId="478"/>
          <ac:picMkLst>
            <pc:docMk/>
            <pc:sldMk cId="1302328370" sldId="336"/>
            <ac:picMk id="5" creationId="{FFFA3077-65D7-0483-096B-8F5C41CFFADE}"/>
          </ac:picMkLst>
        </pc:picChg>
        <pc:picChg chg="add mod">
          <ac:chgData name="John Allen" userId="5ce638c8-b70f-4488-977f-58f29038d7b5" providerId="ADAL" clId="{7A43E89E-F26A-4608-92FD-77A0DCDDBF34}" dt="2024-09-16T11:50:54.832" v="23" actId="14100"/>
          <ac:picMkLst>
            <pc:docMk/>
            <pc:sldMk cId="1302328370" sldId="336"/>
            <ac:picMk id="6" creationId="{33FA3580-5E4B-EB0C-5D6A-8B5BFD8893A7}"/>
          </ac:picMkLst>
        </pc:picChg>
      </pc:sldChg>
      <pc:sldChg chg="add del">
        <pc:chgData name="John Allen" userId="5ce638c8-b70f-4488-977f-58f29038d7b5" providerId="ADAL" clId="{7A43E89E-F26A-4608-92FD-77A0DCDDBF34}" dt="2024-09-16T12:32:17.191" v="33" actId="47"/>
        <pc:sldMkLst>
          <pc:docMk/>
          <pc:sldMk cId="3898889164" sldId="337"/>
        </pc:sldMkLst>
      </pc:sldChg>
      <pc:sldChg chg="addSp delSp modSp add mod">
        <pc:chgData name="John Allen" userId="5ce638c8-b70f-4488-977f-58f29038d7b5" providerId="ADAL" clId="{7A43E89E-F26A-4608-92FD-77A0DCDDBF34}" dt="2024-09-16T12:32:24.148" v="35" actId="1076"/>
        <pc:sldMkLst>
          <pc:docMk/>
          <pc:sldMk cId="1106705374" sldId="338"/>
        </pc:sldMkLst>
        <pc:spChg chg="mod">
          <ac:chgData name="John Allen" userId="5ce638c8-b70f-4488-977f-58f29038d7b5" providerId="ADAL" clId="{7A43E89E-F26A-4608-92FD-77A0DCDDBF34}" dt="2024-09-16T12:31:59.322" v="28" actId="20577"/>
          <ac:spMkLst>
            <pc:docMk/>
            <pc:sldMk cId="1106705374" sldId="338"/>
            <ac:spMk id="2" creationId="{195A3896-3BC9-67D6-B5AF-5718A0498A66}"/>
          </ac:spMkLst>
        </pc:spChg>
        <pc:picChg chg="add mod">
          <ac:chgData name="John Allen" userId="5ce638c8-b70f-4488-977f-58f29038d7b5" providerId="ADAL" clId="{7A43E89E-F26A-4608-92FD-77A0DCDDBF34}" dt="2024-09-16T12:32:24.148" v="35" actId="1076"/>
          <ac:picMkLst>
            <pc:docMk/>
            <pc:sldMk cId="1106705374" sldId="338"/>
            <ac:picMk id="5" creationId="{1C1AA45B-18AB-7EFB-C590-34561769B0FB}"/>
          </ac:picMkLst>
        </pc:picChg>
        <pc:picChg chg="del">
          <ac:chgData name="John Allen" userId="5ce638c8-b70f-4488-977f-58f29038d7b5" providerId="ADAL" clId="{7A43E89E-F26A-4608-92FD-77A0DCDDBF34}" dt="2024-09-16T12:32:02.346" v="29" actId="478"/>
          <ac:picMkLst>
            <pc:docMk/>
            <pc:sldMk cId="1106705374" sldId="338"/>
            <ac:picMk id="6" creationId="{33FA3580-5E4B-EB0C-5D6A-8B5BFD8893A7}"/>
          </ac:picMkLst>
        </pc:picChg>
      </pc:sldChg>
      <pc:sldChg chg="addSp delSp modSp add del mod">
        <pc:chgData name="John Allen" userId="5ce638c8-b70f-4488-977f-58f29038d7b5" providerId="ADAL" clId="{7A43E89E-F26A-4608-92FD-77A0DCDDBF34}" dt="2024-09-16T12:37:22.588" v="61" actId="47"/>
        <pc:sldMkLst>
          <pc:docMk/>
          <pc:sldMk cId="111115857" sldId="339"/>
        </pc:sldMkLst>
        <pc:spChg chg="mod">
          <ac:chgData name="John Allen" userId="5ce638c8-b70f-4488-977f-58f29038d7b5" providerId="ADAL" clId="{7A43E89E-F26A-4608-92FD-77A0DCDDBF34}" dt="2024-09-16T12:34:17.503" v="51" actId="1076"/>
          <ac:spMkLst>
            <pc:docMk/>
            <pc:sldMk cId="111115857" sldId="339"/>
            <ac:spMk id="2" creationId="{195A3896-3BC9-67D6-B5AF-5718A0498A66}"/>
          </ac:spMkLst>
        </pc:spChg>
        <pc:picChg chg="del">
          <ac:chgData name="John Allen" userId="5ce638c8-b70f-4488-977f-58f29038d7b5" providerId="ADAL" clId="{7A43E89E-F26A-4608-92FD-77A0DCDDBF34}" dt="2024-09-16T12:34:09.198" v="49" actId="478"/>
          <ac:picMkLst>
            <pc:docMk/>
            <pc:sldMk cId="111115857" sldId="339"/>
            <ac:picMk id="5" creationId="{1C1AA45B-18AB-7EFB-C590-34561769B0FB}"/>
          </ac:picMkLst>
        </pc:picChg>
        <pc:picChg chg="add mod">
          <ac:chgData name="John Allen" userId="5ce638c8-b70f-4488-977f-58f29038d7b5" providerId="ADAL" clId="{7A43E89E-F26A-4608-92FD-77A0DCDDBF34}" dt="2024-09-16T12:36:53.451" v="56" actId="1076"/>
          <ac:picMkLst>
            <pc:docMk/>
            <pc:sldMk cId="111115857" sldId="339"/>
            <ac:picMk id="6" creationId="{960E89B0-CA2F-597C-E5AE-F26E6B28184D}"/>
          </ac:picMkLst>
        </pc:picChg>
      </pc:sldChg>
      <pc:sldChg chg="addSp modSp add mod">
        <pc:chgData name="John Allen" userId="5ce638c8-b70f-4488-977f-58f29038d7b5" providerId="ADAL" clId="{7A43E89E-F26A-4608-92FD-77A0DCDDBF34}" dt="2024-09-16T12:37:57.746" v="71" actId="1076"/>
        <pc:sldMkLst>
          <pc:docMk/>
          <pc:sldMk cId="1654421132" sldId="340"/>
        </pc:sldMkLst>
        <pc:picChg chg="add mod">
          <ac:chgData name="John Allen" userId="5ce638c8-b70f-4488-977f-58f29038d7b5" providerId="ADAL" clId="{7A43E89E-F26A-4608-92FD-77A0DCDDBF34}" dt="2024-09-16T12:37:57.746" v="71" actId="1076"/>
          <ac:picMkLst>
            <pc:docMk/>
            <pc:sldMk cId="1654421132" sldId="340"/>
            <ac:picMk id="5" creationId="{3B021F7B-EA2C-0653-CECF-A1D939C3E917}"/>
          </ac:picMkLst>
        </pc:picChg>
        <pc:picChg chg="mod">
          <ac:chgData name="John Allen" userId="5ce638c8-b70f-4488-977f-58f29038d7b5" providerId="ADAL" clId="{7A43E89E-F26A-4608-92FD-77A0DCDDBF34}" dt="2024-09-16T12:37:16.548" v="60" actId="1076"/>
          <ac:picMkLst>
            <pc:docMk/>
            <pc:sldMk cId="1654421132" sldId="340"/>
            <ac:picMk id="6" creationId="{960E89B0-CA2F-597C-E5AE-F26E6B28184D}"/>
          </ac:picMkLst>
        </pc:picChg>
      </pc:sldChg>
      <pc:sldChg chg="addSp delSp modSp add mod">
        <pc:chgData name="John Allen" userId="5ce638c8-b70f-4488-977f-58f29038d7b5" providerId="ADAL" clId="{7A43E89E-F26A-4608-92FD-77A0DCDDBF34}" dt="2024-09-16T12:56:03.742" v="519" actId="1076"/>
        <pc:sldMkLst>
          <pc:docMk/>
          <pc:sldMk cId="2504222339" sldId="341"/>
        </pc:sldMkLst>
        <pc:spChg chg="mod">
          <ac:chgData name="John Allen" userId="5ce638c8-b70f-4488-977f-58f29038d7b5" providerId="ADAL" clId="{7A43E89E-F26A-4608-92FD-77A0DCDDBF34}" dt="2024-09-16T12:56:03.742" v="519" actId="1076"/>
          <ac:spMkLst>
            <pc:docMk/>
            <pc:sldMk cId="2504222339" sldId="341"/>
            <ac:spMk id="2" creationId="{195A3896-3BC9-67D6-B5AF-5718A0498A66}"/>
          </ac:spMkLst>
        </pc:spChg>
        <pc:picChg chg="del">
          <ac:chgData name="John Allen" userId="5ce638c8-b70f-4488-977f-58f29038d7b5" providerId="ADAL" clId="{7A43E89E-F26A-4608-92FD-77A0DCDDBF34}" dt="2024-09-16T12:38:06.330" v="74" actId="478"/>
          <ac:picMkLst>
            <pc:docMk/>
            <pc:sldMk cId="2504222339" sldId="341"/>
            <ac:picMk id="5" creationId="{3B021F7B-EA2C-0653-CECF-A1D939C3E917}"/>
          </ac:picMkLst>
        </pc:picChg>
        <pc:picChg chg="del">
          <ac:chgData name="John Allen" userId="5ce638c8-b70f-4488-977f-58f29038d7b5" providerId="ADAL" clId="{7A43E89E-F26A-4608-92FD-77A0DCDDBF34}" dt="2024-09-16T12:38:05.286" v="73" actId="478"/>
          <ac:picMkLst>
            <pc:docMk/>
            <pc:sldMk cId="2504222339" sldId="341"/>
            <ac:picMk id="6" creationId="{960E89B0-CA2F-597C-E5AE-F26E6B28184D}"/>
          </ac:picMkLst>
        </pc:picChg>
        <pc:picChg chg="add mod">
          <ac:chgData name="John Allen" userId="5ce638c8-b70f-4488-977f-58f29038d7b5" providerId="ADAL" clId="{7A43E89E-F26A-4608-92FD-77A0DCDDBF34}" dt="2024-09-16T12:39:01.668" v="83" actId="1076"/>
          <ac:picMkLst>
            <pc:docMk/>
            <pc:sldMk cId="2504222339" sldId="341"/>
            <ac:picMk id="7" creationId="{90E5208E-5A4E-2854-231E-BE05354A1485}"/>
          </ac:picMkLst>
        </pc:picChg>
      </pc:sldChg>
      <pc:sldChg chg="addSp delSp modSp add mod">
        <pc:chgData name="John Allen" userId="5ce638c8-b70f-4488-977f-58f29038d7b5" providerId="ADAL" clId="{7A43E89E-F26A-4608-92FD-77A0DCDDBF34}" dt="2024-09-16T13:08:04.787" v="638" actId="1076"/>
        <pc:sldMkLst>
          <pc:docMk/>
          <pc:sldMk cId="3246613175" sldId="342"/>
        </pc:sldMkLst>
        <pc:spChg chg="mod">
          <ac:chgData name="John Allen" userId="5ce638c8-b70f-4488-977f-58f29038d7b5" providerId="ADAL" clId="{7A43E89E-F26A-4608-92FD-77A0DCDDBF34}" dt="2024-09-16T12:39:40.497" v="87" actId="20577"/>
          <ac:spMkLst>
            <pc:docMk/>
            <pc:sldMk cId="3246613175" sldId="342"/>
            <ac:spMk id="2" creationId="{195A3896-3BC9-67D6-B5AF-5718A0498A66}"/>
          </ac:spMkLst>
        </pc:spChg>
        <pc:picChg chg="add mod">
          <ac:chgData name="John Allen" userId="5ce638c8-b70f-4488-977f-58f29038d7b5" providerId="ADAL" clId="{7A43E89E-F26A-4608-92FD-77A0DCDDBF34}" dt="2024-09-16T13:08:03.440" v="637" actId="1076"/>
          <ac:picMkLst>
            <pc:docMk/>
            <pc:sldMk cId="3246613175" sldId="342"/>
            <ac:picMk id="5" creationId="{2EDE3BD2-366F-1345-C2AF-87CFC000A997}"/>
          </ac:picMkLst>
        </pc:picChg>
        <pc:picChg chg="del">
          <ac:chgData name="John Allen" userId="5ce638c8-b70f-4488-977f-58f29038d7b5" providerId="ADAL" clId="{7A43E89E-F26A-4608-92FD-77A0DCDDBF34}" dt="2024-09-16T12:39:44.299" v="88" actId="478"/>
          <ac:picMkLst>
            <pc:docMk/>
            <pc:sldMk cId="3246613175" sldId="342"/>
            <ac:picMk id="7" creationId="{90E5208E-5A4E-2854-231E-BE05354A1485}"/>
          </ac:picMkLst>
        </pc:picChg>
        <pc:picChg chg="add mod">
          <ac:chgData name="John Allen" userId="5ce638c8-b70f-4488-977f-58f29038d7b5" providerId="ADAL" clId="{7A43E89E-F26A-4608-92FD-77A0DCDDBF34}" dt="2024-09-16T13:08:04.787" v="638" actId="1076"/>
          <ac:picMkLst>
            <pc:docMk/>
            <pc:sldMk cId="3246613175" sldId="342"/>
            <ac:picMk id="8" creationId="{87749FC8-2FFE-71CC-4B4B-43F340B2DA03}"/>
          </ac:picMkLst>
        </pc:picChg>
      </pc:sldChg>
      <pc:sldChg chg="addSp delSp modSp add del mod">
        <pc:chgData name="John Allen" userId="5ce638c8-b70f-4488-977f-58f29038d7b5" providerId="ADAL" clId="{7A43E89E-F26A-4608-92FD-77A0DCDDBF34}" dt="2024-09-16T12:55:55.438" v="518" actId="47"/>
        <pc:sldMkLst>
          <pc:docMk/>
          <pc:sldMk cId="1210729349" sldId="343"/>
        </pc:sldMkLst>
        <pc:spChg chg="mod">
          <ac:chgData name="John Allen" userId="5ce638c8-b70f-4488-977f-58f29038d7b5" providerId="ADAL" clId="{7A43E89E-F26A-4608-92FD-77A0DCDDBF34}" dt="2024-09-16T12:43:33.023" v="119" actId="20577"/>
          <ac:spMkLst>
            <pc:docMk/>
            <pc:sldMk cId="1210729349" sldId="343"/>
            <ac:spMk id="2" creationId="{195A3896-3BC9-67D6-B5AF-5718A0498A66}"/>
          </ac:spMkLst>
        </pc:spChg>
        <pc:picChg chg="del">
          <ac:chgData name="John Allen" userId="5ce638c8-b70f-4488-977f-58f29038d7b5" providerId="ADAL" clId="{7A43E89E-F26A-4608-92FD-77A0DCDDBF34}" dt="2024-09-16T12:43:10.696" v="111" actId="478"/>
          <ac:picMkLst>
            <pc:docMk/>
            <pc:sldMk cId="1210729349" sldId="343"/>
            <ac:picMk id="5" creationId="{2EDE3BD2-366F-1345-C2AF-87CFC000A997}"/>
          </ac:picMkLst>
        </pc:picChg>
        <pc:picChg chg="add mod">
          <ac:chgData name="John Allen" userId="5ce638c8-b70f-4488-977f-58f29038d7b5" providerId="ADAL" clId="{7A43E89E-F26A-4608-92FD-77A0DCDDBF34}" dt="2024-09-16T12:43:48.537" v="124" actId="1076"/>
          <ac:picMkLst>
            <pc:docMk/>
            <pc:sldMk cId="1210729349" sldId="343"/>
            <ac:picMk id="6" creationId="{37263F5E-2303-7746-DF52-20CD27ED5890}"/>
          </ac:picMkLst>
        </pc:picChg>
      </pc:sldChg>
      <pc:sldChg chg="addSp modSp add mod">
        <pc:chgData name="John Allen" userId="5ce638c8-b70f-4488-977f-58f29038d7b5" providerId="ADAL" clId="{7A43E89E-F26A-4608-92FD-77A0DCDDBF34}" dt="2024-09-16T12:45:28.015" v="140" actId="1076"/>
        <pc:sldMkLst>
          <pc:docMk/>
          <pc:sldMk cId="492305789" sldId="344"/>
        </pc:sldMkLst>
        <pc:picChg chg="add mod">
          <ac:chgData name="John Allen" userId="5ce638c8-b70f-4488-977f-58f29038d7b5" providerId="ADAL" clId="{7A43E89E-F26A-4608-92FD-77A0DCDDBF34}" dt="2024-09-16T12:45:28.015" v="140" actId="1076"/>
          <ac:picMkLst>
            <pc:docMk/>
            <pc:sldMk cId="492305789" sldId="344"/>
            <ac:picMk id="5" creationId="{8F174917-33B2-D084-0202-331A1935D91D}"/>
          </ac:picMkLst>
        </pc:picChg>
        <pc:picChg chg="mod">
          <ac:chgData name="John Allen" userId="5ce638c8-b70f-4488-977f-58f29038d7b5" providerId="ADAL" clId="{7A43E89E-F26A-4608-92FD-77A0DCDDBF34}" dt="2024-09-16T12:45:11.300" v="135" actId="14100"/>
          <ac:picMkLst>
            <pc:docMk/>
            <pc:sldMk cId="492305789" sldId="344"/>
            <ac:picMk id="6" creationId="{37263F5E-2303-7746-DF52-20CD27ED5890}"/>
          </ac:picMkLst>
        </pc:picChg>
      </pc:sldChg>
      <pc:sldChg chg="addSp delSp modSp add mod ord">
        <pc:chgData name="John Allen" userId="5ce638c8-b70f-4488-977f-58f29038d7b5" providerId="ADAL" clId="{7A43E89E-F26A-4608-92FD-77A0DCDDBF34}" dt="2024-09-16T12:47:00.213" v="162" actId="1076"/>
        <pc:sldMkLst>
          <pc:docMk/>
          <pc:sldMk cId="1260301576" sldId="345"/>
        </pc:sldMkLst>
        <pc:spChg chg="mod">
          <ac:chgData name="John Allen" userId="5ce638c8-b70f-4488-977f-58f29038d7b5" providerId="ADAL" clId="{7A43E89E-F26A-4608-92FD-77A0DCDDBF34}" dt="2024-09-16T12:46:35.540" v="156" actId="1076"/>
          <ac:spMkLst>
            <pc:docMk/>
            <pc:sldMk cId="1260301576" sldId="345"/>
            <ac:spMk id="2" creationId="{195A3896-3BC9-67D6-B5AF-5718A0498A66}"/>
          </ac:spMkLst>
        </pc:spChg>
        <pc:picChg chg="add mod">
          <ac:chgData name="John Allen" userId="5ce638c8-b70f-4488-977f-58f29038d7b5" providerId="ADAL" clId="{7A43E89E-F26A-4608-92FD-77A0DCDDBF34}" dt="2024-09-16T12:47:00.213" v="162" actId="1076"/>
          <ac:picMkLst>
            <pc:docMk/>
            <pc:sldMk cId="1260301576" sldId="345"/>
            <ac:picMk id="5" creationId="{7EC800BD-08B6-2C85-2ED6-FB012F8B5908}"/>
          </ac:picMkLst>
        </pc:picChg>
        <pc:picChg chg="del">
          <ac:chgData name="John Allen" userId="5ce638c8-b70f-4488-977f-58f29038d7b5" providerId="ADAL" clId="{7A43E89E-F26A-4608-92FD-77A0DCDDBF34}" dt="2024-09-16T12:46:38.226" v="157" actId="478"/>
          <ac:picMkLst>
            <pc:docMk/>
            <pc:sldMk cId="1260301576" sldId="345"/>
            <ac:picMk id="6" creationId="{37263F5E-2303-7746-DF52-20CD27ED5890}"/>
          </ac:picMkLst>
        </pc:picChg>
      </pc:sldChg>
      <pc:sldChg chg="addSp delSp modSp add mod ord">
        <pc:chgData name="John Allen" userId="5ce638c8-b70f-4488-977f-58f29038d7b5" providerId="ADAL" clId="{7A43E89E-F26A-4608-92FD-77A0DCDDBF34}" dt="2024-09-16T12:47:58.725" v="180" actId="1076"/>
        <pc:sldMkLst>
          <pc:docMk/>
          <pc:sldMk cId="3641417402" sldId="346"/>
        </pc:sldMkLst>
        <pc:spChg chg="mod">
          <ac:chgData name="John Allen" userId="5ce638c8-b70f-4488-977f-58f29038d7b5" providerId="ADAL" clId="{7A43E89E-F26A-4608-92FD-77A0DCDDBF34}" dt="2024-09-16T12:47:38.546" v="172" actId="20577"/>
          <ac:spMkLst>
            <pc:docMk/>
            <pc:sldMk cId="3641417402" sldId="346"/>
            <ac:spMk id="2" creationId="{195A3896-3BC9-67D6-B5AF-5718A0498A66}"/>
          </ac:spMkLst>
        </pc:spChg>
        <pc:picChg chg="add mod">
          <ac:chgData name="John Allen" userId="5ce638c8-b70f-4488-977f-58f29038d7b5" providerId="ADAL" clId="{7A43E89E-F26A-4608-92FD-77A0DCDDBF34}" dt="2024-09-16T12:47:58.725" v="180" actId="1076"/>
          <ac:picMkLst>
            <pc:docMk/>
            <pc:sldMk cId="3641417402" sldId="346"/>
            <ac:picMk id="5" creationId="{D1FDAA35-DBC8-EB8E-5254-D1CA26B43DB3}"/>
          </ac:picMkLst>
        </pc:picChg>
        <pc:picChg chg="del">
          <ac:chgData name="John Allen" userId="5ce638c8-b70f-4488-977f-58f29038d7b5" providerId="ADAL" clId="{7A43E89E-F26A-4608-92FD-77A0DCDDBF34}" dt="2024-09-16T12:47:41.777" v="173" actId="478"/>
          <ac:picMkLst>
            <pc:docMk/>
            <pc:sldMk cId="3641417402" sldId="346"/>
            <ac:picMk id="6" creationId="{37263F5E-2303-7746-DF52-20CD27ED5890}"/>
          </ac:picMkLst>
        </pc:picChg>
      </pc:sldChg>
      <pc:sldChg chg="addSp delSp modSp add mod">
        <pc:chgData name="John Allen" userId="5ce638c8-b70f-4488-977f-58f29038d7b5" providerId="ADAL" clId="{7A43E89E-F26A-4608-92FD-77A0DCDDBF34}" dt="2024-09-16T12:50:22.532" v="206" actId="1076"/>
        <pc:sldMkLst>
          <pc:docMk/>
          <pc:sldMk cId="954636685" sldId="347"/>
        </pc:sldMkLst>
        <pc:spChg chg="mod">
          <ac:chgData name="John Allen" userId="5ce638c8-b70f-4488-977f-58f29038d7b5" providerId="ADAL" clId="{7A43E89E-F26A-4608-92FD-77A0DCDDBF34}" dt="2024-09-16T12:50:06.811" v="200" actId="20577"/>
          <ac:spMkLst>
            <pc:docMk/>
            <pc:sldMk cId="954636685" sldId="347"/>
            <ac:spMk id="2" creationId="{195A3896-3BC9-67D6-B5AF-5718A0498A66}"/>
          </ac:spMkLst>
        </pc:spChg>
        <pc:picChg chg="del">
          <ac:chgData name="John Allen" userId="5ce638c8-b70f-4488-977f-58f29038d7b5" providerId="ADAL" clId="{7A43E89E-F26A-4608-92FD-77A0DCDDBF34}" dt="2024-09-16T12:50:09.042" v="201" actId="478"/>
          <ac:picMkLst>
            <pc:docMk/>
            <pc:sldMk cId="954636685" sldId="347"/>
            <ac:picMk id="5" creationId="{D1FDAA35-DBC8-EB8E-5254-D1CA26B43DB3}"/>
          </ac:picMkLst>
        </pc:picChg>
        <pc:picChg chg="add mod">
          <ac:chgData name="John Allen" userId="5ce638c8-b70f-4488-977f-58f29038d7b5" providerId="ADAL" clId="{7A43E89E-F26A-4608-92FD-77A0DCDDBF34}" dt="2024-09-16T12:50:22.532" v="206" actId="1076"/>
          <ac:picMkLst>
            <pc:docMk/>
            <pc:sldMk cId="954636685" sldId="347"/>
            <ac:picMk id="6" creationId="{F046DC9F-D601-AF25-6072-10EDE1CBFB4F}"/>
          </ac:picMkLst>
        </pc:picChg>
      </pc:sldChg>
      <pc:sldChg chg="addSp delSp modSp add mod">
        <pc:chgData name="John Allen" userId="5ce638c8-b70f-4488-977f-58f29038d7b5" providerId="ADAL" clId="{7A43E89E-F26A-4608-92FD-77A0DCDDBF34}" dt="2024-09-16T13:00:21.215" v="541" actId="20577"/>
        <pc:sldMkLst>
          <pc:docMk/>
          <pc:sldMk cId="4292569793" sldId="348"/>
        </pc:sldMkLst>
        <pc:spChg chg="mod">
          <ac:chgData name="John Allen" userId="5ce638c8-b70f-4488-977f-58f29038d7b5" providerId="ADAL" clId="{7A43E89E-F26A-4608-92FD-77A0DCDDBF34}" dt="2024-09-16T13:00:21.215" v="541" actId="20577"/>
          <ac:spMkLst>
            <pc:docMk/>
            <pc:sldMk cId="4292569793" sldId="348"/>
            <ac:spMk id="2" creationId="{195A3896-3BC9-67D6-B5AF-5718A0498A66}"/>
          </ac:spMkLst>
        </pc:spChg>
        <pc:picChg chg="add mod">
          <ac:chgData name="John Allen" userId="5ce638c8-b70f-4488-977f-58f29038d7b5" providerId="ADAL" clId="{7A43E89E-F26A-4608-92FD-77A0DCDDBF34}" dt="2024-09-16T12:52:22.374" v="371" actId="1076"/>
          <ac:picMkLst>
            <pc:docMk/>
            <pc:sldMk cId="4292569793" sldId="348"/>
            <ac:picMk id="5" creationId="{0B4FAD4F-D789-5946-C43F-B9530F1709DC}"/>
          </ac:picMkLst>
        </pc:picChg>
        <pc:picChg chg="del">
          <ac:chgData name="John Allen" userId="5ce638c8-b70f-4488-977f-58f29038d7b5" providerId="ADAL" clId="{7A43E89E-F26A-4608-92FD-77A0DCDDBF34}" dt="2024-09-16T12:52:07.195" v="366" actId="478"/>
          <ac:picMkLst>
            <pc:docMk/>
            <pc:sldMk cId="4292569793" sldId="348"/>
            <ac:picMk id="6" creationId="{F046DC9F-D601-AF25-6072-10EDE1CBFB4F}"/>
          </ac:picMkLst>
        </pc:picChg>
      </pc:sldChg>
      <pc:sldChg chg="addSp delSp modSp add mod">
        <pc:chgData name="John Allen" userId="5ce638c8-b70f-4488-977f-58f29038d7b5" providerId="ADAL" clId="{7A43E89E-F26A-4608-92FD-77A0DCDDBF34}" dt="2024-09-16T13:01:33.542" v="566" actId="1076"/>
        <pc:sldMkLst>
          <pc:docMk/>
          <pc:sldMk cId="237001734" sldId="349"/>
        </pc:sldMkLst>
        <pc:spChg chg="mod">
          <ac:chgData name="John Allen" userId="5ce638c8-b70f-4488-977f-58f29038d7b5" providerId="ADAL" clId="{7A43E89E-F26A-4608-92FD-77A0DCDDBF34}" dt="2024-09-16T13:01:33.542" v="566" actId="1076"/>
          <ac:spMkLst>
            <pc:docMk/>
            <pc:sldMk cId="237001734" sldId="349"/>
            <ac:spMk id="2" creationId="{195A3896-3BC9-67D6-B5AF-5718A0498A66}"/>
          </ac:spMkLst>
        </pc:spChg>
        <pc:picChg chg="del">
          <ac:chgData name="John Allen" userId="5ce638c8-b70f-4488-977f-58f29038d7b5" providerId="ADAL" clId="{7A43E89E-F26A-4608-92FD-77A0DCDDBF34}" dt="2024-09-16T12:54:53.098" v="512" actId="478"/>
          <ac:picMkLst>
            <pc:docMk/>
            <pc:sldMk cId="237001734" sldId="349"/>
            <ac:picMk id="5" creationId="{0B4FAD4F-D789-5946-C43F-B9530F1709DC}"/>
          </ac:picMkLst>
        </pc:picChg>
        <pc:picChg chg="add mod">
          <ac:chgData name="John Allen" userId="5ce638c8-b70f-4488-977f-58f29038d7b5" providerId="ADAL" clId="{7A43E89E-F26A-4608-92FD-77A0DCDDBF34}" dt="2024-09-16T12:55:14.108" v="517" actId="1076"/>
          <ac:picMkLst>
            <pc:docMk/>
            <pc:sldMk cId="237001734" sldId="349"/>
            <ac:picMk id="6" creationId="{AFE70178-68FF-156F-0EBE-122E06ED583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9E2660-C793-44D0-ABBE-A8D0FC79D871}" type="datetimeFigureOut">
              <a:rPr lang="en-GB" smtClean="0"/>
              <a:t>01/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6B4547-6B9E-4C70-91D6-6AF91BBCDAE3}" type="slidenum">
              <a:rPr lang="en-GB" smtClean="0"/>
              <a:t>‹#›</a:t>
            </a:fld>
            <a:endParaRPr lang="en-GB"/>
          </a:p>
        </p:txBody>
      </p:sp>
    </p:spTree>
    <p:extLst>
      <p:ext uri="{BB962C8B-B14F-4D97-AF65-F5344CB8AC3E}">
        <p14:creationId xmlns:p14="http://schemas.microsoft.com/office/powerpoint/2010/main" val="1001551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4.bin"/><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0.bin"/><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4056501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6779" y="179388"/>
            <a:ext cx="11446626" cy="708715"/>
          </a:xfrm>
        </p:spPr>
        <p:txBody>
          <a:bodyPr vert="horz" lIns="0" tIns="0" rIns="0" bIns="0">
            <a:noAutofit/>
          </a:bodyPr>
          <a:lstStyle>
            <a:lvl1pPr>
              <a:defRPr cap="none"/>
            </a:lvl1pPr>
          </a:lstStyle>
          <a:p>
            <a:r>
              <a:rPr lang="en-US" noProof="0" dirty="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6779" y="1247775"/>
            <a:ext cx="11446626" cy="4691062"/>
          </a:xfrm>
        </p:spPr>
        <p:txBody>
          <a:bodyPr lIns="72000" tIns="72000" rIns="72000" bIns="72000">
            <a:noAutofit/>
          </a:bodyPr>
          <a:lstStyle>
            <a:lvl1pPr>
              <a:buFont typeface="Arial" panose="020B0604020202020204" pitchFamily="34" charset="0"/>
              <a:buChar char="•"/>
              <a:defRPr/>
            </a:lvl1pPr>
            <a:lvl2pPr marL="360000" indent="-180000">
              <a:buFont typeface="Lato" panose="020F0502020204030203" pitchFamily="34" charset="0"/>
              <a:buChar char="-"/>
              <a:defRPr/>
            </a:lvl2pPr>
            <a:lvl3pPr>
              <a:buFont typeface="Arial" panose="020B0604020202020204" pitchFamily="34" charset="0"/>
              <a:buChar char="•"/>
              <a:defRPr/>
            </a:lvl3pPr>
            <a:lvl4pPr marL="720000" indent="-180000">
              <a:buFont typeface="Lato" panose="020F0502020204030203" pitchFamily="34" charset="0"/>
              <a:buChar char="-"/>
              <a:defRPr/>
            </a:lvl4pPr>
            <a:lvl5pPr>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dirty="0"/>
          </a:p>
        </p:txBody>
      </p:sp>
      <p:sp>
        <p:nvSpPr>
          <p:cNvPr id="9" name="Footer Placeholder 3">
            <a:extLst>
              <a:ext uri="{FF2B5EF4-FFF2-40B4-BE49-F238E27FC236}">
                <a16:creationId xmlns:a16="http://schemas.microsoft.com/office/drawing/2014/main" id="{54E58106-3073-C284-986B-BF409E8E3FB2}"/>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352021652"/>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Title Slide (Picture)">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853110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1" i="0" baseline="0" dirty="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9" name="Picture Placeholder 8">
            <a:extLst>
              <a:ext uri="{FF2B5EF4-FFF2-40B4-BE49-F238E27FC236}">
                <a16:creationId xmlns:a16="http://schemas.microsoft.com/office/drawing/2014/main" id="{172DCD42-D661-4A77-A320-C376CF432C6C}"/>
              </a:ext>
            </a:extLst>
          </p:cNvPr>
          <p:cNvSpPr>
            <a:spLocks noGrp="1"/>
          </p:cNvSpPr>
          <p:nvPr>
            <p:ph type="pic" sz="quarter" idx="10"/>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22168" y="2044699"/>
            <a:ext cx="6741079" cy="2390775"/>
          </a:xfrm>
        </p:spPr>
        <p:txBody>
          <a:bodyPr vert="horz" anchor="t">
            <a:noAutofit/>
          </a:bodyPr>
          <a:lstStyle>
            <a:lvl1pPr algn="l">
              <a:defRPr sz="5400">
                <a:solidFill>
                  <a:schemeClr val="bg2"/>
                </a:solidFill>
              </a:defRPr>
            </a:lvl1pPr>
          </a:lstStyle>
          <a:p>
            <a:r>
              <a:rPr lang="en-US" noProof="0" dirty="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22169" y="14255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Tree>
    <p:extLst>
      <p:ext uri="{BB962C8B-B14F-4D97-AF65-F5344CB8AC3E}">
        <p14:creationId xmlns:p14="http://schemas.microsoft.com/office/powerpoint/2010/main" val="2314522540"/>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0220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lvl1pPr>
          </a:lstStyle>
          <a:p>
            <a:r>
              <a:rPr lang="en-US" noProof="0" dirty="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lumMod val="10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Tree>
    <p:extLst>
      <p:ext uri="{BB962C8B-B14F-4D97-AF65-F5344CB8AC3E}">
        <p14:creationId xmlns:p14="http://schemas.microsoft.com/office/powerpoint/2010/main" val="1164189782"/>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15112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5" y="540000"/>
            <a:ext cx="11427232"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3784313990"/>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7829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vert="horz" lIns="0" tIns="0" rIns="0" bIns="0" anchor="t">
            <a:noAutofit/>
          </a:bodyPr>
          <a:lstStyle>
            <a:lvl1pPr algn="l">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2910843404"/>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36387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Verdana" panose="020B0604030504040204" pitchFamily="34" charset="0"/>
              <a:ea typeface="+mj-ea"/>
              <a:cs typeface="+mj-cs"/>
              <a:sym typeface="Museo Sans 10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82382" y="540000"/>
            <a:ext cx="11427231"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vert="horz" lIns="0" tIns="0" rIns="0" bIns="0" anchor="t">
            <a:noAutofit/>
          </a:bodyPr>
          <a:lstStyle>
            <a:lvl1pPr algn="l">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946658522"/>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ackup">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4155122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dirty="0">
              <a:latin typeface="Century Gothic" panose="020B0502020202020204" pitchFamily="34" charset="0"/>
              <a:ea typeface="+mj-ea"/>
              <a:cs typeface="+mj-cs"/>
              <a:sym typeface="Century Gothic" panose="020B0502020202020204" pitchFamily="34"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393465" y="549331"/>
            <a:ext cx="11427232"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dirty="0">
              <a:solidFill>
                <a:schemeClr val="tx2"/>
              </a:solidFill>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8520757" y="4678255"/>
            <a:ext cx="2793977"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dirty="0">
                <a:latin typeface="Century Gothic" panose="020B0502020202020204" pitchFamily="34" charset="0"/>
                <a:ea typeface="Verdana" panose="020B0604030504040204" pitchFamily="34" charset="0"/>
                <a:cs typeface="Inter" panose="020B0502030000000004" pitchFamily="34" charset="0"/>
              </a:rPr>
              <a:t>Backup</a:t>
            </a:r>
          </a:p>
        </p:txBody>
      </p:sp>
      <p:sp>
        <p:nvSpPr>
          <p:cNvPr id="11" name="Slide Number Placeholder 3">
            <a:extLst>
              <a:ext uri="{FF2B5EF4-FFF2-40B4-BE49-F238E27FC236}">
                <a16:creationId xmlns:a16="http://schemas.microsoft.com/office/drawing/2014/main" id="{4680C26E-18A4-48BD-8E92-5051A941E429}"/>
              </a:ext>
            </a:extLst>
          </p:cNvPr>
          <p:cNvSpPr>
            <a:spLocks noGrp="1"/>
          </p:cNvSpPr>
          <p:nvPr>
            <p:ph type="sldNum" sz="quarter" idx="11"/>
          </p:nvPr>
        </p:nvSpPr>
        <p:spPr>
          <a:xfrm>
            <a:off x="11314734" y="6342890"/>
            <a:ext cx="505963" cy="374690"/>
          </a:xfrm>
        </p:spPr>
        <p:txBody>
          <a:bodyPr/>
          <a:lstStyle/>
          <a:p>
            <a:fld id="{ABB6D191-819E-455F-BC39-F2381519C0C1}" type="slidenum">
              <a:rPr lang="en-US" noProof="0" smtClean="0"/>
              <a:t>‹#›</a:t>
            </a:fld>
            <a:endParaRPr lang="en-US" noProof="0" dirty="0"/>
          </a:p>
        </p:txBody>
      </p:sp>
      <p:sp>
        <p:nvSpPr>
          <p:cNvPr id="9" name="Footer Placeholder 3">
            <a:extLst>
              <a:ext uri="{FF2B5EF4-FFF2-40B4-BE49-F238E27FC236}">
                <a16:creationId xmlns:a16="http://schemas.microsoft.com/office/drawing/2014/main" id="{BBB2D388-8B9E-8BE1-EBAD-BE0B2928F1B4}"/>
              </a:ext>
            </a:extLst>
          </p:cNvPr>
          <p:cNvSpPr>
            <a:spLocks noGrp="1"/>
          </p:cNvSpPr>
          <p:nvPr>
            <p:ph type="ftr" sz="quarter" idx="12"/>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066639091"/>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22638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1500" b="0" i="0" baseline="0" dirty="0">
              <a:latin typeface="Century Gothic" panose="020B0502020202020204" pitchFamily="34" charset="0"/>
              <a:ea typeface="+mj-ea"/>
              <a:cs typeface="+mj-cs"/>
              <a:sym typeface="Century Gothic" panose="020B0502020202020204" pitchFamily="34" charset="0"/>
            </a:endParaRPr>
          </a:p>
        </p:txBody>
      </p:sp>
      <p:sp>
        <p:nvSpPr>
          <p:cNvPr id="15" name="Title 1">
            <a:extLst>
              <a:ext uri="{FF2B5EF4-FFF2-40B4-BE49-F238E27FC236}">
                <a16:creationId xmlns:a16="http://schemas.microsoft.com/office/drawing/2014/main" id="{EEF825C3-94B5-43A8-822C-83F664AEB289}"/>
              </a:ext>
            </a:extLst>
          </p:cNvPr>
          <p:cNvSpPr txBox="1">
            <a:spLocks/>
          </p:cNvSpPr>
          <p:nvPr/>
        </p:nvSpPr>
        <p:spPr>
          <a:xfrm>
            <a:off x="7836196" y="4678255"/>
            <a:ext cx="3360524"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r>
              <a:rPr lang="en-US" sz="5400" dirty="0">
                <a:latin typeface="Verdana" panose="020B0604030504040204" pitchFamily="34" charset="0"/>
                <a:ea typeface="Verdana" panose="020B0604030504040204" pitchFamily="34" charset="0"/>
                <a:cs typeface="Inter" panose="020B0502030000000004" pitchFamily="34" charset="0"/>
              </a:rPr>
              <a:t>Appendix</a:t>
            </a:r>
          </a:p>
        </p:txBody>
      </p:sp>
      <p:sp>
        <p:nvSpPr>
          <p:cNvPr id="11" name="Slide Number Placeholder 3">
            <a:extLst>
              <a:ext uri="{FF2B5EF4-FFF2-40B4-BE49-F238E27FC236}">
                <a16:creationId xmlns:a16="http://schemas.microsoft.com/office/drawing/2014/main" id="{471CBB97-3BEF-4690-BB14-A4EB68413A36}"/>
              </a:ext>
            </a:extLst>
          </p:cNvPr>
          <p:cNvSpPr>
            <a:spLocks noGrp="1"/>
          </p:cNvSpPr>
          <p:nvPr>
            <p:ph type="sldNum" sz="quarter" idx="11"/>
          </p:nvPr>
        </p:nvSpPr>
        <p:spPr>
          <a:xfrm>
            <a:off x="11314734" y="6342890"/>
            <a:ext cx="505963" cy="374690"/>
          </a:xfrm>
        </p:spPr>
        <p:txBody>
          <a:bodyPr/>
          <a:lstStyle/>
          <a:p>
            <a:fld id="{ABB6D191-819E-455F-BC39-F2381519C0C1}" type="slidenum">
              <a:rPr lang="en-US" noProof="0" smtClean="0"/>
              <a:t>‹#›</a:t>
            </a:fld>
            <a:endParaRPr lang="en-US" noProof="0" dirty="0"/>
          </a:p>
        </p:txBody>
      </p:sp>
      <p:sp>
        <p:nvSpPr>
          <p:cNvPr id="13" name="Rectangle 12">
            <a:extLst>
              <a:ext uri="{FF2B5EF4-FFF2-40B4-BE49-F238E27FC236}">
                <a16:creationId xmlns:a16="http://schemas.microsoft.com/office/drawing/2014/main" id="{184A0FD2-50C3-46FD-A05F-2143AFFAB503}"/>
              </a:ext>
            </a:extLst>
          </p:cNvPr>
          <p:cNvSpPr/>
          <p:nvPr userDrawn="1"/>
        </p:nvSpPr>
        <p:spPr>
          <a:xfrm>
            <a:off x="393465" y="549331"/>
            <a:ext cx="11427232" cy="5398838"/>
          </a:xfrm>
          <a:prstGeom prst="rect">
            <a:avLst/>
          </a:prstGeom>
          <a:solidFill>
            <a:srgbClr val="004876"/>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US" sz="3600" b="1" noProof="0" dirty="0">
              <a:solidFill>
                <a:schemeClr val="tx2"/>
              </a:solidFill>
            </a:endParaRPr>
          </a:p>
        </p:txBody>
      </p:sp>
      <p:sp>
        <p:nvSpPr>
          <p:cNvPr id="14" name="Title 1">
            <a:extLst>
              <a:ext uri="{FF2B5EF4-FFF2-40B4-BE49-F238E27FC236}">
                <a16:creationId xmlns:a16="http://schemas.microsoft.com/office/drawing/2014/main" id="{A4D8ED86-1F40-4C56-8B49-F5E79B3E4BBC}"/>
              </a:ext>
            </a:extLst>
          </p:cNvPr>
          <p:cNvSpPr txBox="1">
            <a:spLocks/>
          </p:cNvSpPr>
          <p:nvPr userDrawn="1"/>
        </p:nvSpPr>
        <p:spPr>
          <a:xfrm>
            <a:off x="7954211" y="4678255"/>
            <a:ext cx="3360523" cy="88264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11500" b="0" kern="1200" cap="none" baseline="0">
                <a:solidFill>
                  <a:schemeClr val="bg1"/>
                </a:solidFill>
                <a:latin typeface="+mj-lt"/>
                <a:ea typeface="+mj-ea"/>
                <a:cs typeface="+mj-cs"/>
              </a:defRPr>
            </a:lvl1pPr>
          </a:lstStyle>
          <a:p>
            <a:pPr algn="r"/>
            <a:r>
              <a:rPr lang="en-US" sz="5400" dirty="0">
                <a:latin typeface="Century Gothic" panose="020B0502020202020204" pitchFamily="34" charset="0"/>
                <a:ea typeface="Verdana" panose="020B0604030504040204" pitchFamily="34" charset="0"/>
                <a:cs typeface="Inter" panose="020B0502030000000004" pitchFamily="34" charset="0"/>
              </a:rPr>
              <a:t>Appendix</a:t>
            </a:r>
          </a:p>
        </p:txBody>
      </p:sp>
      <p:sp>
        <p:nvSpPr>
          <p:cNvPr id="9" name="Footer Placeholder 3">
            <a:extLst>
              <a:ext uri="{FF2B5EF4-FFF2-40B4-BE49-F238E27FC236}">
                <a16:creationId xmlns:a16="http://schemas.microsoft.com/office/drawing/2014/main" id="{31898CFE-0B29-C748-5A27-0CF16FA369DF}"/>
              </a:ext>
            </a:extLst>
          </p:cNvPr>
          <p:cNvSpPr>
            <a:spLocks noGrp="1"/>
          </p:cNvSpPr>
          <p:nvPr>
            <p:ph type="ftr" sz="quarter" idx="12"/>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3570811290"/>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296484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vert="horz" lIns="0" tIns="0" rIns="0" bIns="0">
            <a:noAutofit/>
          </a:bodyPr>
          <a:lstStyle>
            <a:lvl1pPr>
              <a:defRPr cap="none"/>
            </a:lvl1pPr>
          </a:lstStyle>
          <a:p>
            <a:r>
              <a:rPr lang="en-US" noProof="0" dirty="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344816" y="1247776"/>
            <a:ext cx="5475882" cy="4691062"/>
          </a:xfrm>
        </p:spPr>
        <p:txBody>
          <a:bodyPr>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a:extLst>
              <a:ext uri="{FF2B5EF4-FFF2-40B4-BE49-F238E27FC236}">
                <a16:creationId xmlns:a16="http://schemas.microsoft.com/office/drawing/2014/main" id="{4C172E53-4DB8-4D7A-B888-012956DB7275}"/>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Footer Placeholder 3">
            <a:extLst>
              <a:ext uri="{FF2B5EF4-FFF2-40B4-BE49-F238E27FC236}">
                <a16:creationId xmlns:a16="http://schemas.microsoft.com/office/drawing/2014/main" id="{D9106E7D-AFC9-67DF-DAE4-468B137B6437}"/>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3575522823"/>
      </p:ext>
    </p:extLst>
  </p:cSld>
  <p:clrMapOvr>
    <a:masterClrMapping/>
  </p:clrMapOvr>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_w_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0088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382384" y="1205244"/>
            <a:ext cx="5621541" cy="587975"/>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382385" y="2014538"/>
            <a:ext cx="5475882" cy="3924299"/>
          </a:xfrm>
        </p:spPr>
        <p:txBody>
          <a:bodyPr lIns="72000" tIns="72000" rIns="72000" bIns="7200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344815" y="1205246"/>
            <a:ext cx="5475882" cy="587974"/>
          </a:xfrm>
        </p:spPr>
        <p:txBody>
          <a:bodyPr lIns="72000" tIns="72000" rIns="72000" bIns="72000" anchor="b">
            <a:noAutofit/>
          </a:bodyPr>
          <a:lstStyle>
            <a:lvl1pPr marL="0" indent="0">
              <a:buNone/>
              <a:defRPr sz="1800" b="1">
                <a:solidFill>
                  <a:schemeClr val="tx2">
                    <a:lumMod val="10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333735" y="2014538"/>
            <a:ext cx="5486962" cy="3924299"/>
          </a:xfrm>
        </p:spPr>
        <p:txBody>
          <a:bodyPr lIns="72000" tIns="72000" rIns="72000" bIns="7200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cxnSp>
        <p:nvCxnSpPr>
          <p:cNvPr id="14" name="Straight Connector 13">
            <a:extLst>
              <a:ext uri="{FF2B5EF4-FFF2-40B4-BE49-F238E27FC236}">
                <a16:creationId xmlns:a16="http://schemas.microsoft.com/office/drawing/2014/main" id="{0E80DDF9-9ABD-41C0-B8CD-6641DEAFE776}"/>
              </a:ext>
            </a:extLst>
          </p:cNvPr>
          <p:cNvCxnSpPr>
            <a:cxnSpLocks/>
          </p:cNvCxnSpPr>
          <p:nvPr userDrawn="1"/>
        </p:nvCxnSpPr>
        <p:spPr>
          <a:xfrm flipH="1">
            <a:off x="382384" y="1867501"/>
            <a:ext cx="547588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87ACC30-B3BF-495E-860A-1FD6FA83F803}"/>
              </a:ext>
            </a:extLst>
          </p:cNvPr>
          <p:cNvCxnSpPr>
            <a:cxnSpLocks/>
          </p:cNvCxnSpPr>
          <p:nvPr userDrawn="1"/>
        </p:nvCxnSpPr>
        <p:spPr>
          <a:xfrm flipH="1">
            <a:off x="6333735" y="1869774"/>
            <a:ext cx="5486962"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C88C7A3-0501-4FC5-A23C-F213AB20F2F7}"/>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dirty="0"/>
              <a:t>Click to edit master title style</a:t>
            </a:r>
          </a:p>
        </p:txBody>
      </p:sp>
      <p:sp>
        <p:nvSpPr>
          <p:cNvPr id="13" name="Footer Placeholder 3">
            <a:extLst>
              <a:ext uri="{FF2B5EF4-FFF2-40B4-BE49-F238E27FC236}">
                <a16:creationId xmlns:a16="http://schemas.microsoft.com/office/drawing/2014/main" id="{98975F6D-3497-4FD6-FF57-B29ECED03E4C}"/>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2953252569"/>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69920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4" name="Title 1">
            <a:extLst>
              <a:ext uri="{FF2B5EF4-FFF2-40B4-BE49-F238E27FC236}">
                <a16:creationId xmlns:a16="http://schemas.microsoft.com/office/drawing/2014/main" id="{B214B955-5CE2-401B-88E7-E488FF6074DC}"/>
              </a:ext>
            </a:extLst>
          </p:cNvPr>
          <p:cNvSpPr>
            <a:spLocks noGrp="1"/>
          </p:cNvSpPr>
          <p:nvPr>
            <p:ph type="title" hasCustomPrompt="1"/>
          </p:nvPr>
        </p:nvSpPr>
        <p:spPr>
          <a:xfrm>
            <a:off x="382384" y="179388"/>
            <a:ext cx="11438313" cy="708715"/>
          </a:xfrm>
        </p:spPr>
        <p:txBody>
          <a:bodyPr vert="horz" lIns="0" tIns="0" rIns="0" bIns="0">
            <a:noAutofit/>
          </a:bodyPr>
          <a:lstStyle>
            <a:lvl1pPr>
              <a:defRPr cap="none"/>
            </a:lvl1pPr>
          </a:lstStyle>
          <a:p>
            <a:r>
              <a:rPr lang="en-US" noProof="0" dirty="0"/>
              <a:t>Click to edit master title style</a:t>
            </a:r>
          </a:p>
        </p:txBody>
      </p:sp>
      <p:sp>
        <p:nvSpPr>
          <p:cNvPr id="15" name="Content Placeholder 2">
            <a:extLst>
              <a:ext uri="{FF2B5EF4-FFF2-40B4-BE49-F238E27FC236}">
                <a16:creationId xmlns:a16="http://schemas.microsoft.com/office/drawing/2014/main" id="{1E8465C6-CA5D-4B05-9A5A-0802DB88B8BF}"/>
              </a:ext>
            </a:extLst>
          </p:cNvPr>
          <p:cNvSpPr>
            <a:spLocks noGrp="1"/>
          </p:cNvSpPr>
          <p:nvPr>
            <p:ph sz="half" idx="1"/>
          </p:nvPr>
        </p:nvSpPr>
        <p:spPr>
          <a:xfrm>
            <a:off x="382384" y="1247775"/>
            <a:ext cx="5475882" cy="4691063"/>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3">
            <a:extLst>
              <a:ext uri="{FF2B5EF4-FFF2-40B4-BE49-F238E27FC236}">
                <a16:creationId xmlns:a16="http://schemas.microsoft.com/office/drawing/2014/main" id="{C8711B5E-1663-44E3-AE92-8A03E23ED7CB}"/>
              </a:ext>
            </a:extLst>
          </p:cNvPr>
          <p:cNvSpPr>
            <a:spLocks noGrp="1"/>
          </p:cNvSpPr>
          <p:nvPr>
            <p:ph sz="half" idx="2"/>
          </p:nvPr>
        </p:nvSpPr>
        <p:spPr>
          <a:xfrm>
            <a:off x="6344816" y="1247776"/>
            <a:ext cx="5475882" cy="4691062"/>
          </a:xfrm>
        </p:spPr>
        <p:txBody>
          <a:bodyPr>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Footer Placeholder 3">
            <a:extLst>
              <a:ext uri="{FF2B5EF4-FFF2-40B4-BE49-F238E27FC236}">
                <a16:creationId xmlns:a16="http://schemas.microsoft.com/office/drawing/2014/main" id="{2A26F973-D523-A748-FF86-08B2E4B78973}"/>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4264829956"/>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3E268D-AB50-4521-85B1-C1387B18D756}"/>
              </a:ext>
            </a:extLst>
          </p:cNvPr>
          <p:cNvGraphicFramePr>
            <a:graphicFrameLocks noChangeAspect="1"/>
          </p:cNvGraphicFramePr>
          <p:nvPr>
            <p:custDataLst>
              <p:tags r:id="rId1"/>
            </p:custDataLst>
            <p:extLst>
              <p:ext uri="{D42A27DB-BD31-4B8C-83A1-F6EECF244321}">
                <p14:modId xmlns:p14="http://schemas.microsoft.com/office/powerpoint/2010/main" val="397689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6" name="Object 5" hidden="1">
                        <a:extLst>
                          <a:ext uri="{FF2B5EF4-FFF2-40B4-BE49-F238E27FC236}">
                            <a16:creationId xmlns:a16="http://schemas.microsoft.com/office/drawing/2014/main" id="{BF3E268D-AB50-4521-85B1-C1387B18D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ABB6D191-819E-455F-BC39-F2381519C0C1}" type="slidenum">
              <a:rPr lang="en-US" noProof="0" smtClean="0"/>
              <a:t>‹#›</a:t>
            </a:fld>
            <a:endParaRPr lang="en-US" noProof="0" dirty="0"/>
          </a:p>
        </p:txBody>
      </p:sp>
      <p:graphicFrame>
        <p:nvGraphicFramePr>
          <p:cNvPr id="7" name="Object 6" hidden="1">
            <a:extLst>
              <a:ext uri="{FF2B5EF4-FFF2-40B4-BE49-F238E27FC236}">
                <a16:creationId xmlns:a16="http://schemas.microsoft.com/office/drawing/2014/main" id="{9070EB65-B7B2-447E-B10E-4D5693F060E0}"/>
              </a:ext>
            </a:extLst>
          </p:cNvPr>
          <p:cNvGraphicFramePr>
            <a:graphicFrameLocks noChangeAspect="1"/>
          </p:cNvGraphicFramePr>
          <p:nvPr userDrawn="1">
            <p:custDataLst>
              <p:tags r:id="rId2"/>
            </p:custDataLst>
            <p:extLst>
              <p:ext uri="{D42A27DB-BD31-4B8C-83A1-F6EECF244321}">
                <p14:modId xmlns:p14="http://schemas.microsoft.com/office/powerpoint/2010/main" val="324356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7" name="Object 6" hidden="1">
                        <a:extLst>
                          <a:ext uri="{FF2B5EF4-FFF2-40B4-BE49-F238E27FC236}">
                            <a16:creationId xmlns:a16="http://schemas.microsoft.com/office/drawing/2014/main" id="{9070EB65-B7B2-447E-B10E-4D5693F060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FDBD8E9B-BC44-C9B9-1BB9-89C9381F9739}"/>
              </a:ext>
            </a:extLst>
          </p:cNvPr>
          <p:cNvSpPr>
            <a:spLocks noGrp="1"/>
          </p:cNvSpPr>
          <p:nvPr>
            <p:ph type="ftr" sz="quarter" idx="12"/>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39044307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83245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dirty="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5DC044D4-CFC4-AE4F-5F08-78D638FCA0F7}"/>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251452337"/>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44207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dirty="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dirty="0"/>
              <a:t>Action title</a:t>
            </a:r>
            <a:endParaRPr lang="en-US" dirty="0"/>
          </a:p>
        </p:txBody>
      </p:sp>
      <p:sp>
        <p:nvSpPr>
          <p:cNvPr id="9" name="Footer Placeholder 3">
            <a:extLst>
              <a:ext uri="{FF2B5EF4-FFF2-40B4-BE49-F238E27FC236}">
                <a16:creationId xmlns:a16="http://schemas.microsoft.com/office/drawing/2014/main" id="{D999D95A-8ED5-463E-AB8F-D249076C5231}"/>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757233814"/>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9033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noAutofit/>
          </a:bodyPr>
          <a:lstStyle>
            <a:lvl1pPr>
              <a:defRPr cap="none"/>
            </a:lvl1pPr>
          </a:lstStyle>
          <a:p>
            <a:r>
              <a:rPr lang="en-US" noProof="0" dirty="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Autofit/>
          </a:bodyPr>
          <a:lstStyle>
            <a:lvl1pPr marL="0" indent="0">
              <a:buNone/>
              <a:defRPr sz="1400">
                <a:solidFill>
                  <a:schemeClr val="tx1">
                    <a:lumMod val="50000"/>
                    <a:lumOff val="50000"/>
                  </a:schemeClr>
                </a:solidFill>
              </a:defRPr>
            </a:lvl1pPr>
          </a:lstStyle>
          <a:p>
            <a:pPr lvl="0"/>
            <a:r>
              <a:rPr lang="de-DE" dirty="0"/>
              <a:t>Action title</a:t>
            </a:r>
            <a:endParaRPr lang="en-US" dirty="0"/>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D966112-46BA-4411-81C3-C6CF0FC49E94}"/>
              </a:ext>
            </a:extLst>
          </p:cNvPr>
          <p:cNvCxnSpPr/>
          <p:nvPr userDrawn="1"/>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F1466C1F-B3A3-4D07-88B4-CBB52B4C24F6}"/>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70436839"/>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53339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9" name="Footer Placeholder 3">
            <a:extLst>
              <a:ext uri="{FF2B5EF4-FFF2-40B4-BE49-F238E27FC236}">
                <a16:creationId xmlns:a16="http://schemas.microsoft.com/office/drawing/2014/main" id="{E6A1CE14-8965-AE6B-AC85-130EBEEF0BEF}"/>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453015087"/>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16985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vert="horz" lIns="0" tIns="0" rIns="0" bIns="0" anchor="t">
            <a:noAutofit/>
          </a:bodyPr>
          <a:lstStyle>
            <a:lvl1pPr>
              <a:defRPr sz="4400" cap="none"/>
            </a:lvl1pPr>
          </a:lstStyle>
          <a:p>
            <a:r>
              <a:rPr lang="en-US"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940C6EDE-4618-41A4-9573-E028EF41F681}"/>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dirty="0"/>
          </a:p>
        </p:txBody>
      </p:sp>
      <p:sp>
        <p:nvSpPr>
          <p:cNvPr id="10" name="Footer Placeholder 3">
            <a:extLst>
              <a:ext uri="{FF2B5EF4-FFF2-40B4-BE49-F238E27FC236}">
                <a16:creationId xmlns:a16="http://schemas.microsoft.com/office/drawing/2014/main" id="{0F24D20C-D7F8-4213-B4E6-A72F46470ABF}"/>
              </a:ext>
            </a:extLst>
          </p:cNvPr>
          <p:cNvSpPr>
            <a:spLocks noGrp="1"/>
          </p:cNvSpPr>
          <p:nvPr>
            <p:ph type="ftr" sz="quarter" idx="3"/>
          </p:nvPr>
        </p:nvSpPr>
        <p:spPr>
          <a:xfrm>
            <a:off x="1520890" y="6342890"/>
            <a:ext cx="9675845" cy="374690"/>
          </a:xfrm>
          <a:prstGeom prst="rect">
            <a:avLst/>
          </a:prstGeom>
        </p:spPr>
        <p:txBody>
          <a:bodyPr lIns="0" tIns="0" rIns="0" bIns="0" anchor="b"/>
          <a:lstStyle>
            <a:lvl1pPr>
              <a:defRPr sz="900">
                <a:latin typeface="Century Gothic" panose="020B0502020202020204" pitchFamily="34" charset="0"/>
              </a:defRPr>
            </a:lvl1pPr>
          </a:lstStyle>
          <a:p>
            <a:r>
              <a:rPr lang="en-US" dirty="0"/>
              <a:t>Footer</a:t>
            </a:r>
          </a:p>
        </p:txBody>
      </p:sp>
    </p:spTree>
    <p:extLst>
      <p:ext uri="{BB962C8B-B14F-4D97-AF65-F5344CB8AC3E}">
        <p14:creationId xmlns:p14="http://schemas.microsoft.com/office/powerpoint/2010/main" val="2517192175"/>
      </p:ext>
    </p:extLst>
  </p:cSld>
  <p:clrMapOvr>
    <a:masterClrMapping/>
  </p:clrMapOvr>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371071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vert="horz" lIns="0" tIns="0" rIns="0" bIns="0" anchor="t">
            <a:noAutofit/>
          </a:bodyPr>
          <a:lstStyle>
            <a:lvl1pPr>
              <a:defRPr sz="4400" cap="none"/>
            </a:lvl1pPr>
          </a:lstStyle>
          <a:p>
            <a:r>
              <a:rPr lang="en-US"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Slide Number Placeholder 6">
            <a:extLst>
              <a:ext uri="{FF2B5EF4-FFF2-40B4-BE49-F238E27FC236}">
                <a16:creationId xmlns:a16="http://schemas.microsoft.com/office/drawing/2014/main" id="{A71C7C56-963A-4163-B8A9-5FE4EDCA1FC1}"/>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noAutofit/>
          </a:bodyPr>
          <a:lstStyle>
            <a:lvl1pPr>
              <a:defRPr/>
            </a:lvl1pPr>
          </a:lstStyle>
          <a:p>
            <a:r>
              <a:rPr lang="en-US" noProof="0"/>
              <a:t>Click to select placeholder - insert picture from the Templafy library</a:t>
            </a:r>
          </a:p>
        </p:txBody>
      </p:sp>
      <p:sp>
        <p:nvSpPr>
          <p:cNvPr id="12" name="Footer Placeholder 3">
            <a:extLst>
              <a:ext uri="{FF2B5EF4-FFF2-40B4-BE49-F238E27FC236}">
                <a16:creationId xmlns:a16="http://schemas.microsoft.com/office/drawing/2014/main" id="{A8507866-5B86-F88A-0CD9-E6FA62853BCC}"/>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3779568169"/>
      </p:ext>
    </p:extLst>
  </p:cSld>
  <p:clrMapOvr>
    <a:masterClrMapping/>
  </p:clrMapOvr>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egal Disclaim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BAFEAE-D2DF-4A4F-A49A-53C2FE24164E}"/>
              </a:ext>
            </a:extLst>
          </p:cNvPr>
          <p:cNvSpPr/>
          <p:nvPr/>
        </p:nvSpPr>
        <p:spPr>
          <a:xfrm>
            <a:off x="96717" y="6216161"/>
            <a:ext cx="1204546"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a:ln>
                <a:noFill/>
              </a:ln>
              <a:solidFill>
                <a:schemeClr val="bg1"/>
              </a:solidFill>
            </a:endParaRPr>
          </a:p>
        </p:txBody>
      </p:sp>
      <p:pic>
        <p:nvPicPr>
          <p:cNvPr id="5" name="Picture 4" descr="A close up of a logo&#10;&#10;Description automatically generated">
            <a:extLst>
              <a:ext uri="{FF2B5EF4-FFF2-40B4-BE49-F238E27FC236}">
                <a16:creationId xmlns:a16="http://schemas.microsoft.com/office/drawing/2014/main" id="{1B8D8A47-AE53-4EF6-A051-CE11E8186D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086" y="3582673"/>
            <a:ext cx="1572354" cy="1366889"/>
          </a:xfrm>
          <a:prstGeom prst="rect">
            <a:avLst/>
          </a:prstGeom>
        </p:spPr>
      </p:pic>
      <p:sp>
        <p:nvSpPr>
          <p:cNvPr id="7" name="Rectangle 6">
            <a:extLst>
              <a:ext uri="{FF2B5EF4-FFF2-40B4-BE49-F238E27FC236}">
                <a16:creationId xmlns:a16="http://schemas.microsoft.com/office/drawing/2014/main" id="{9C218987-B6BF-4113-B719-56B4BD1B6C8E}"/>
              </a:ext>
            </a:extLst>
          </p:cNvPr>
          <p:cNvSpPr/>
          <p:nvPr userDrawn="1"/>
        </p:nvSpPr>
        <p:spPr>
          <a:xfrm>
            <a:off x="96717" y="6216161"/>
            <a:ext cx="1572354" cy="526752"/>
          </a:xfrm>
          <a:prstGeom prst="rect">
            <a:avLst/>
          </a:prstGeom>
          <a:solidFill>
            <a:schemeClr val="bg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a:ln>
                <a:noFill/>
              </a:ln>
              <a:solidFill>
                <a:schemeClr val="bg1"/>
              </a:solidFill>
            </a:endParaRPr>
          </a:p>
        </p:txBody>
      </p:sp>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891633"/>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US" sz="900" noProof="0" dirty="0">
                <a:solidFill>
                  <a:schemeClr val="tx1"/>
                </a:solidFill>
              </a:rPr>
              <a:t>The Energy Transitions Commission is hosted by SYSTEMIQ Ltd.</a:t>
            </a:r>
          </a:p>
          <a:p>
            <a:pPr algn="l"/>
            <a:endParaRPr lang="en-US" sz="900" noProof="0" dirty="0">
              <a:solidFill>
                <a:schemeClr val="tx1"/>
              </a:solidFill>
            </a:endParaRPr>
          </a:p>
          <a:p>
            <a:pPr algn="l"/>
            <a:r>
              <a:rPr lang="en-US" sz="900" noProof="0" dirty="0">
                <a:solidFill>
                  <a:schemeClr val="tx1"/>
                </a:solidFill>
              </a:rPr>
              <a:t>© 2022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spTree>
    <p:extLst>
      <p:ext uri="{BB962C8B-B14F-4D97-AF65-F5344CB8AC3E}">
        <p14:creationId xmlns:p14="http://schemas.microsoft.com/office/powerpoint/2010/main" val="4138370106"/>
      </p:ext>
    </p:extLst>
  </p:cSld>
  <p:clrMapOvr>
    <a:masterClrMapping/>
  </p:clrMapOvr>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Action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23876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dirty="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8" y="887413"/>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dirty="0"/>
              <a:t>Action title</a:t>
            </a:r>
            <a:endParaRPr lang="en-US" dirty="0"/>
          </a:p>
        </p:txBody>
      </p:sp>
      <p:sp>
        <p:nvSpPr>
          <p:cNvPr id="9" name="Footer Placeholder 3">
            <a:extLst>
              <a:ext uri="{FF2B5EF4-FFF2-40B4-BE49-F238E27FC236}">
                <a16:creationId xmlns:a16="http://schemas.microsoft.com/office/drawing/2014/main" id="{839A09E9-5E17-A89A-FCDD-75BE75EC2993}"/>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1103279355"/>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ActionTitle_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12452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defRPr cap="none"/>
            </a:lvl1pPr>
          </a:lstStyle>
          <a:p>
            <a:r>
              <a:rPr lang="en-US" noProof="0" dirty="0"/>
              <a:t>Click to edit master title style</a:t>
            </a:r>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sp>
        <p:nvSpPr>
          <p:cNvPr id="10" name="Text Placeholder 9">
            <a:extLst>
              <a:ext uri="{FF2B5EF4-FFF2-40B4-BE49-F238E27FC236}">
                <a16:creationId xmlns:a16="http://schemas.microsoft.com/office/drawing/2014/main" id="{03957C2D-A49F-4DB6-BF75-79C374D34A24}"/>
              </a:ext>
            </a:extLst>
          </p:cNvPr>
          <p:cNvSpPr>
            <a:spLocks noGrp="1"/>
          </p:cNvSpPr>
          <p:nvPr>
            <p:ph type="body" sz="quarter" idx="13" hasCustomPrompt="1"/>
          </p:nvPr>
        </p:nvSpPr>
        <p:spPr>
          <a:xfrm>
            <a:off x="179389" y="1030346"/>
            <a:ext cx="11831637" cy="374650"/>
          </a:xfrm>
        </p:spPr>
        <p:txBody>
          <a:bodyPr anchor="ctr">
            <a:normAutofit/>
          </a:bodyPr>
          <a:lstStyle>
            <a:lvl1pPr marL="0" indent="0">
              <a:buNone/>
              <a:defRPr sz="1400">
                <a:solidFill>
                  <a:schemeClr val="tx1">
                    <a:lumMod val="50000"/>
                    <a:lumOff val="50000"/>
                  </a:schemeClr>
                </a:solidFill>
              </a:defRPr>
            </a:lvl1pPr>
          </a:lstStyle>
          <a:p>
            <a:pPr lvl="0"/>
            <a:r>
              <a:rPr lang="de-DE" dirty="0"/>
              <a:t>Action title</a:t>
            </a:r>
            <a:endParaRPr lang="en-US" dirty="0"/>
          </a:p>
        </p:txBody>
      </p:sp>
      <p:cxnSp>
        <p:nvCxnSpPr>
          <p:cNvPr id="8" name="Straight Connector 7">
            <a:extLst>
              <a:ext uri="{FF2B5EF4-FFF2-40B4-BE49-F238E27FC236}">
                <a16:creationId xmlns:a16="http://schemas.microsoft.com/office/drawing/2014/main" id="{EE47034B-D2F8-4408-9356-EA89719BDD6C}"/>
              </a:ext>
            </a:extLst>
          </p:cNvPr>
          <p:cNvCxnSpPr/>
          <p:nvPr/>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FCDAE2-21A7-4EA4-8D95-0A207A2FC5DA}"/>
              </a:ext>
            </a:extLst>
          </p:cNvPr>
          <p:cNvCxnSpPr/>
          <p:nvPr userDrawn="1"/>
        </p:nvCxnSpPr>
        <p:spPr>
          <a:xfrm>
            <a:off x="179387" y="959224"/>
            <a:ext cx="11831639"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C2C19FD8-AB78-1B8F-AF54-952AA53FA692}"/>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2119080908"/>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_without_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6D541D8-B4A5-48BD-92C0-ACCAE7D71056}"/>
              </a:ext>
            </a:extLst>
          </p:cNvPr>
          <p:cNvGraphicFramePr>
            <a:graphicFrameLocks noChangeAspect="1"/>
          </p:cNvGraphicFramePr>
          <p:nvPr>
            <p:custDataLst>
              <p:tags r:id="rId1"/>
            </p:custDataLst>
            <p:extLst>
              <p:ext uri="{D42A27DB-BD31-4B8C-83A1-F6EECF244321}">
                <p14:modId xmlns:p14="http://schemas.microsoft.com/office/powerpoint/2010/main" val="319655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26D541D8-B4A5-48BD-92C0-ACCAE7D710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AD2561-9FF3-4C8F-B41A-88E05A00BB28}"/>
              </a:ext>
            </a:extLst>
          </p:cNvPr>
          <p:cNvSpPr>
            <a:spLocks noGrp="1"/>
          </p:cNvSpPr>
          <p:nvPr>
            <p:ph type="title"/>
          </p:nvPr>
        </p:nvSpPr>
        <p:spPr/>
        <p:txBody>
          <a:bodyPr vert="horz">
            <a:noAutofit/>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303DA3F-89CD-4D41-9AF0-FDBCD3B3BB2E}"/>
              </a:ext>
            </a:extLst>
          </p:cNvPr>
          <p:cNvSpPr>
            <a:spLocks noGrp="1"/>
          </p:cNvSpPr>
          <p:nvPr>
            <p:ph type="sldNum" sz="quarter" idx="11"/>
          </p:nvPr>
        </p:nvSpPr>
        <p:spPr/>
        <p:txBody>
          <a:bodyPr/>
          <a:lstStyle/>
          <a:p>
            <a:fld id="{ABB6D191-819E-455F-BC39-F2381519C0C1}" type="slidenum">
              <a:rPr lang="en-US" noProof="0" smtClean="0"/>
              <a:t>‹#›</a:t>
            </a:fld>
            <a:endParaRPr lang="en-US" noProof="0"/>
          </a:p>
        </p:txBody>
      </p:sp>
      <p:graphicFrame>
        <p:nvGraphicFramePr>
          <p:cNvPr id="8" name="Object 7" hidden="1">
            <a:extLst>
              <a:ext uri="{FF2B5EF4-FFF2-40B4-BE49-F238E27FC236}">
                <a16:creationId xmlns:a16="http://schemas.microsoft.com/office/drawing/2014/main" id="{1E9D6F4F-7526-41F1-93D3-A7F742659C60}"/>
              </a:ext>
            </a:extLst>
          </p:cNvPr>
          <p:cNvGraphicFramePr>
            <a:graphicFrameLocks noChangeAspect="1"/>
          </p:cNvGraphicFramePr>
          <p:nvPr userDrawn="1">
            <p:custDataLst>
              <p:tags r:id="rId2"/>
            </p:custDataLst>
            <p:extLst>
              <p:ext uri="{D42A27DB-BD31-4B8C-83A1-F6EECF244321}">
                <p14:modId xmlns:p14="http://schemas.microsoft.com/office/powerpoint/2010/main" val="297126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8" name="Object 7" hidden="1">
                        <a:extLst>
                          <a:ext uri="{FF2B5EF4-FFF2-40B4-BE49-F238E27FC236}">
                            <a16:creationId xmlns:a16="http://schemas.microsoft.com/office/drawing/2014/main" id="{1E9D6F4F-7526-41F1-93D3-A7F742659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A39065BB-B8DF-9261-4DB1-CC6461FD0041}"/>
              </a:ext>
            </a:extLst>
          </p:cNvPr>
          <p:cNvSpPr>
            <a:spLocks noGrp="1"/>
          </p:cNvSpPr>
          <p:nvPr>
            <p:ph type="ftr" sz="quarter" idx="12"/>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722036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54767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Verdana" panose="020B0604030504040204" pitchFamily="34" charset="0"/>
              <a:ea typeface="+mj-ea"/>
              <a:cs typeface="+mj-cs"/>
              <a:sym typeface="Museo Sans 100"/>
            </a:endParaRP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82384" y="2267339"/>
            <a:ext cx="11438313" cy="3671497"/>
          </a:xfrm>
        </p:spPr>
        <p:txBody>
          <a:bodyPr lIns="72000" tIns="72000" rIns="72000" bIns="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US" noProof="0" smtClean="0"/>
              <a:t>‹#›</a:t>
            </a:fld>
            <a:endParaRPr lang="en-US" noProof="0"/>
          </a:p>
        </p:txBody>
      </p:sp>
      <p:cxnSp>
        <p:nvCxnSpPr>
          <p:cNvPr id="10" name="Straight Connector 9">
            <a:extLst>
              <a:ext uri="{FF2B5EF4-FFF2-40B4-BE49-F238E27FC236}">
                <a16:creationId xmlns:a16="http://schemas.microsoft.com/office/drawing/2014/main" id="{4E243F5E-8A96-4415-A63C-DE79FA080002}"/>
              </a:ext>
            </a:extLst>
          </p:cNvPr>
          <p:cNvCxnSpPr>
            <a:cxnSpLocks/>
          </p:cNvCxnSpPr>
          <p:nvPr userDrawn="1"/>
        </p:nvCxnSpPr>
        <p:spPr>
          <a:xfrm>
            <a:off x="382384" y="2050239"/>
            <a:ext cx="11438313" cy="0"/>
          </a:xfrm>
          <a:prstGeom prst="line">
            <a:avLst/>
          </a:prstGeom>
          <a:ln w="1270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3C303821-D798-4C23-BE9B-79AE89635880}"/>
              </a:ext>
            </a:extLst>
          </p:cNvPr>
          <p:cNvSpPr>
            <a:spLocks noGrp="1"/>
          </p:cNvSpPr>
          <p:nvPr>
            <p:ph type="title"/>
          </p:nvPr>
        </p:nvSpPr>
        <p:spPr>
          <a:xfrm>
            <a:off x="382384" y="179388"/>
            <a:ext cx="11438313" cy="708715"/>
          </a:xfrm>
        </p:spPr>
        <p:txBody>
          <a:bodyPr vert="horz">
            <a:noAutofit/>
          </a:bodyPr>
          <a:lstStyle/>
          <a:p>
            <a:r>
              <a:rPr lang="en-US" dirty="0"/>
              <a:t>Click to edit Master title style</a:t>
            </a:r>
            <a:endParaRPr lang="en-GB" dirty="0"/>
          </a:p>
        </p:txBody>
      </p:sp>
      <p:sp>
        <p:nvSpPr>
          <p:cNvPr id="19" name="Text Placeholder 18">
            <a:extLst>
              <a:ext uri="{FF2B5EF4-FFF2-40B4-BE49-F238E27FC236}">
                <a16:creationId xmlns:a16="http://schemas.microsoft.com/office/drawing/2014/main" id="{8EE6BF96-7976-424A-B837-25D6A742C0C6}"/>
              </a:ext>
            </a:extLst>
          </p:cNvPr>
          <p:cNvSpPr>
            <a:spLocks noGrp="1"/>
          </p:cNvSpPr>
          <p:nvPr>
            <p:ph type="body" sz="quarter" idx="14" hasCustomPrompt="1"/>
          </p:nvPr>
        </p:nvSpPr>
        <p:spPr>
          <a:xfrm>
            <a:off x="382588" y="1471903"/>
            <a:ext cx="11437937" cy="433387"/>
          </a:xfrm>
        </p:spPr>
        <p:txBody>
          <a:bodyPr anchor="b"/>
          <a:lstStyle>
            <a:lvl1pPr marL="0" indent="0">
              <a:buNone/>
              <a:defRPr>
                <a:solidFill>
                  <a:schemeClr val="tx1"/>
                </a:solidFill>
              </a:defRPr>
            </a:lvl1pPr>
          </a:lstStyle>
          <a:p>
            <a:pPr lvl="0"/>
            <a:r>
              <a:rPr lang="en-US" dirty="0"/>
              <a:t>Click to edit Master title style</a:t>
            </a:r>
            <a:endParaRPr lang="ru-RU" dirty="0"/>
          </a:p>
        </p:txBody>
      </p:sp>
      <p:sp>
        <p:nvSpPr>
          <p:cNvPr id="13" name="Footer Placeholder 3">
            <a:extLst>
              <a:ext uri="{FF2B5EF4-FFF2-40B4-BE49-F238E27FC236}">
                <a16:creationId xmlns:a16="http://schemas.microsoft.com/office/drawing/2014/main" id="{AC424C89-FFE3-5046-9217-A736C4A339A6}"/>
              </a:ext>
            </a:extLst>
          </p:cNvPr>
          <p:cNvSpPr>
            <a:spLocks noGrp="1"/>
          </p:cNvSpPr>
          <p:nvPr>
            <p:ph type="ftr" sz="quarter" idx="11"/>
          </p:nvPr>
        </p:nvSpPr>
        <p:spPr>
          <a:xfrm>
            <a:off x="1446000" y="6339057"/>
            <a:ext cx="9675845" cy="374690"/>
          </a:xfrm>
          <a:prstGeom prst="rect">
            <a:avLst/>
          </a:prstGeom>
        </p:spPr>
        <p:txBody>
          <a:bodyPr/>
          <a:lstStyle/>
          <a:p>
            <a:endParaRPr lang="en-US" dirty="0"/>
          </a:p>
        </p:txBody>
      </p:sp>
    </p:spTree>
    <p:extLst>
      <p:ext uri="{BB962C8B-B14F-4D97-AF65-F5344CB8AC3E}">
        <p14:creationId xmlns:p14="http://schemas.microsoft.com/office/powerpoint/2010/main" val="647961452"/>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Title Slide (Pictur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0EC0E1E-A8F5-4DF8-9FD0-5E4DC243975C}"/>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14" name="Rectangle 13">
            <a:extLst>
              <a:ext uri="{FF2B5EF4-FFF2-40B4-BE49-F238E27FC236}">
                <a16:creationId xmlns:a16="http://schemas.microsoft.com/office/drawing/2014/main" id="{F7799E56-D252-47DF-8820-3D69946D2BBF}"/>
              </a:ext>
            </a:extLst>
          </p:cNvPr>
          <p:cNvSpPr/>
          <p:nvPr userDrawn="1"/>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7599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latin typeface="Century Gothic" panose="020B0502020202020204" pitchFamily="34" charset="0"/>
              <a:ea typeface="+mj-ea"/>
              <a:cs typeface="+mj-cs"/>
              <a:sym typeface="Century Gothic" panose="020B0502020202020204" pitchFamily="34" charset="0"/>
            </a:endParaRPr>
          </a:p>
        </p:txBody>
      </p:sp>
      <p:pic>
        <p:nvPicPr>
          <p:cNvPr id="11" name="Picture 10">
            <a:extLst>
              <a:ext uri="{FF2B5EF4-FFF2-40B4-BE49-F238E27FC236}">
                <a16:creationId xmlns:a16="http://schemas.microsoft.com/office/drawing/2014/main" id="{C3120233-AEF6-42E0-9CF1-0F9E8F091DE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22493"/>
          <a:stretch/>
        </p:blipFill>
        <p:spPr>
          <a:xfrm>
            <a:off x="2630735" y="0"/>
            <a:ext cx="9561266" cy="6858000"/>
          </a:xfrm>
          <a:prstGeom prst="rect">
            <a:avLst/>
          </a:prstGeom>
        </p:spPr>
      </p:pic>
      <p:sp>
        <p:nvSpPr>
          <p:cNvPr id="9" name="Rectangle 8">
            <a:extLst>
              <a:ext uri="{FF2B5EF4-FFF2-40B4-BE49-F238E27FC236}">
                <a16:creationId xmlns:a16="http://schemas.microsoft.com/office/drawing/2014/main" id="{4E7F325B-F942-4209-8D57-CAA2C7E6C91F}"/>
              </a:ext>
            </a:extLst>
          </p:cNvPr>
          <p:cNvSpPr/>
          <p:nvPr/>
        </p:nvSpPr>
        <p:spPr>
          <a:xfrm>
            <a:off x="2007020" y="436074"/>
            <a:ext cx="4549724" cy="189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4" name="Rectangle 3">
            <a:extLst>
              <a:ext uri="{FF2B5EF4-FFF2-40B4-BE49-F238E27FC236}">
                <a16:creationId xmlns:a16="http://schemas.microsoft.com/office/drawing/2014/main" id="{03A9E883-9BB5-482C-A327-2D21B1564687}"/>
              </a:ext>
            </a:extLst>
          </p:cNvPr>
          <p:cNvSpPr/>
          <p:nvPr/>
        </p:nvSpPr>
        <p:spPr>
          <a:xfrm>
            <a:off x="0" y="0"/>
            <a:ext cx="263073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2051891"/>
            <a:ext cx="6371436" cy="1801524"/>
          </a:xfrm>
        </p:spPr>
        <p:txBody>
          <a:bodyPr vert="horz" anchor="b">
            <a:noAutofit/>
          </a:bodyPr>
          <a:lstStyle>
            <a:lvl1pPr algn="l">
              <a:defRPr sz="4000">
                <a:solidFill>
                  <a:schemeClr val="bg2"/>
                </a:solidFill>
                <a:latin typeface="Century Gothic" panose="020B0502020202020204" pitchFamily="34" charset="0"/>
              </a:defRPr>
            </a:lvl1pPr>
          </a:lstStyle>
          <a:p>
            <a:r>
              <a:rPr lang="en-US" noProof="0" dirty="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3940239"/>
            <a:ext cx="6371438" cy="349250"/>
          </a:xfrm>
        </p:spPr>
        <p:txBody>
          <a:bodyPr lIns="0" tIns="0" rIns="0" bIns="0" anchor="ctr">
            <a:noAutofit/>
          </a:bodyPr>
          <a:lstStyle>
            <a:lvl1pPr marL="0" indent="0" algn="l">
              <a:buNone/>
              <a:defRPr sz="2000">
                <a:solidFill>
                  <a:schemeClr val="bg2"/>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0B4AB395-0DA8-484D-9995-6ED3892C58F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8341" y="348748"/>
            <a:ext cx="1856143" cy="1613595"/>
          </a:xfrm>
          <a:prstGeom prst="rect">
            <a:avLst/>
          </a:prstGeom>
        </p:spPr>
      </p:pic>
    </p:spTree>
    <p:extLst>
      <p:ext uri="{BB962C8B-B14F-4D97-AF65-F5344CB8AC3E}">
        <p14:creationId xmlns:p14="http://schemas.microsoft.com/office/powerpoint/2010/main" val="706721948"/>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6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38490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latin typeface="Century Gothic" panose="020B0502020202020204" pitchFamily="34" charset="0"/>
              <a:ea typeface="+mj-ea"/>
              <a:cs typeface="+mj-cs"/>
              <a:sym typeface="Century Gothic" panose="020B0502020202020204" pitchFamily="34" charset="0"/>
            </a:endParaRPr>
          </a:p>
        </p:txBody>
      </p:sp>
      <p:sp>
        <p:nvSpPr>
          <p:cNvPr id="4" name="Rectangle 3">
            <a:extLst>
              <a:ext uri="{FF2B5EF4-FFF2-40B4-BE49-F238E27FC236}">
                <a16:creationId xmlns:a16="http://schemas.microsoft.com/office/drawing/2014/main" id="{03A9E883-9BB5-482C-A327-2D21B1564687}"/>
              </a:ext>
            </a:extLst>
          </p:cNvPr>
          <p:cNvSpPr/>
          <p:nvPr/>
        </p:nvSpPr>
        <p:spPr>
          <a:xfrm>
            <a:off x="5499096" y="0"/>
            <a:ext cx="669290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6368133" y="3994896"/>
            <a:ext cx="4630057" cy="1801524"/>
          </a:xfrm>
        </p:spPr>
        <p:txBody>
          <a:bodyPr vert="horz" anchor="b">
            <a:noAutofit/>
          </a:bodyPr>
          <a:lstStyle>
            <a:lvl1pPr algn="l">
              <a:defRPr sz="3600">
                <a:solidFill>
                  <a:schemeClr val="bg2"/>
                </a:solidFill>
                <a:latin typeface="Century Gothic" panose="020B0502020202020204" pitchFamily="34" charset="0"/>
              </a:defRPr>
            </a:lvl1pPr>
          </a:lstStyle>
          <a:p>
            <a:r>
              <a:rPr lang="en-US" noProof="0" dirty="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6368131" y="5883244"/>
            <a:ext cx="4630058" cy="349250"/>
          </a:xfrm>
        </p:spPr>
        <p:txBody>
          <a:bodyPr lIns="0" tIns="0" rIns="0" bIns="0" anchor="ctr">
            <a:noAutofit/>
          </a:bodyPr>
          <a:lstStyle>
            <a:lvl1pPr marL="0" indent="0" algn="l">
              <a:buNone/>
              <a:defRPr sz="2000">
                <a:solidFill>
                  <a:srgbClr val="95D600"/>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pic>
        <p:nvPicPr>
          <p:cNvPr id="12" name="Picture 11" descr="A picture containing logo&#10;&#10;Description automatically generated">
            <a:extLst>
              <a:ext uri="{FF2B5EF4-FFF2-40B4-BE49-F238E27FC236}">
                <a16:creationId xmlns:a16="http://schemas.microsoft.com/office/drawing/2014/main" id="{FFB48E65-93C6-48D1-BD43-B2B468BB4B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8131" y="348748"/>
            <a:ext cx="1856143" cy="1613595"/>
          </a:xfrm>
          <a:prstGeom prst="rect">
            <a:avLst/>
          </a:prstGeom>
        </p:spPr>
      </p:pic>
      <p:sp>
        <p:nvSpPr>
          <p:cNvPr id="10" name="Picture Placeholder 19">
            <a:extLst>
              <a:ext uri="{FF2B5EF4-FFF2-40B4-BE49-F238E27FC236}">
                <a16:creationId xmlns:a16="http://schemas.microsoft.com/office/drawing/2014/main" id="{7AAD8B0E-17EB-488A-9721-65FC583FE98A}"/>
              </a:ext>
            </a:extLst>
          </p:cNvPr>
          <p:cNvSpPr>
            <a:spLocks noGrp="1"/>
          </p:cNvSpPr>
          <p:nvPr>
            <p:ph type="pic" sz="quarter" idx="10"/>
          </p:nvPr>
        </p:nvSpPr>
        <p:spPr>
          <a:xfrm>
            <a:off x="2" y="0"/>
            <a:ext cx="5499094" cy="6858000"/>
          </a:xfrm>
          <a:solidFill>
            <a:srgbClr val="EAF7CC"/>
          </a:solidFill>
        </p:spPr>
        <p:txBody>
          <a:bodyPr/>
          <a:lstStyle>
            <a:lvl1pPr>
              <a:defRPr>
                <a:latin typeface="Century Gothic" panose="020B0502020202020204" pitchFamily="34" charset="0"/>
              </a:defRPr>
            </a:lvl1pPr>
          </a:lstStyle>
          <a:p>
            <a:r>
              <a:rPr lang="en-US" dirty="0"/>
              <a:t>Click icon to add picture</a:t>
            </a:r>
            <a:endParaRPr lang="ru-RU" dirty="0"/>
          </a:p>
        </p:txBody>
      </p:sp>
    </p:spTree>
    <p:extLst>
      <p:ext uri="{BB962C8B-B14F-4D97-AF65-F5344CB8AC3E}">
        <p14:creationId xmlns:p14="http://schemas.microsoft.com/office/powerpoint/2010/main" val="2529890954"/>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5_Title Slide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DA6B1DC-3F65-4906-A23F-38A69DBB3B6F}"/>
              </a:ext>
            </a:extLst>
          </p:cNvPr>
          <p:cNvSpPr>
            <a:spLocks noGrp="1"/>
          </p:cNvSpPr>
          <p:nvPr>
            <p:ph type="pic" sz="quarter" idx="10"/>
          </p:nvPr>
        </p:nvSpPr>
        <p:spPr>
          <a:xfrm>
            <a:off x="5499100" y="0"/>
            <a:ext cx="6692900" cy="6858000"/>
          </a:xfrm>
          <a:solidFill>
            <a:srgbClr val="004876"/>
          </a:solidFill>
          <a:ln>
            <a:noFill/>
          </a:ln>
        </p:spPr>
        <p:txBody>
          <a:bodyPr/>
          <a:lstStyle>
            <a:lvl1pPr>
              <a:defRPr>
                <a:solidFill>
                  <a:schemeClr val="bg1"/>
                </a:solidFill>
                <a:latin typeface="Century Gothic" panose="020B0502020202020204" pitchFamily="34" charset="0"/>
              </a:defRPr>
            </a:lvl1pPr>
          </a:lstStyle>
          <a:p>
            <a:r>
              <a:rPr lang="en-US" dirty="0"/>
              <a:t>Click icon to add picture</a:t>
            </a:r>
            <a:endParaRPr lang="ru-RU" dirty="0"/>
          </a:p>
        </p:txBody>
      </p:sp>
      <p:pic>
        <p:nvPicPr>
          <p:cNvPr id="6" name="Graphic 5">
            <a:extLst>
              <a:ext uri="{FF2B5EF4-FFF2-40B4-BE49-F238E27FC236}">
                <a16:creationId xmlns:a16="http://schemas.microsoft.com/office/drawing/2014/main" id="{2930B4C9-DB67-4F49-879D-B1ED7C3C6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341" y="348749"/>
            <a:ext cx="1856143" cy="1613138"/>
          </a:xfrm>
          <a:prstGeom prst="rect">
            <a:avLst/>
          </a:prstGeom>
        </p:spPr>
      </p:pic>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5635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latin typeface="Century Gothic" panose="020B0502020202020204" pitchFamily="34" charset="0"/>
              <a:ea typeface="+mj-ea"/>
              <a:cs typeface="+mj-cs"/>
              <a:sym typeface="Century Gothic" panose="020B0502020202020204" pitchFamily="34" charset="0"/>
            </a:endParaRPr>
          </a:p>
        </p:txBody>
      </p:sp>
      <p:pic>
        <p:nvPicPr>
          <p:cNvPr id="5" name="Graphic 4">
            <a:extLst>
              <a:ext uri="{FF2B5EF4-FFF2-40B4-BE49-F238E27FC236}">
                <a16:creationId xmlns:a16="http://schemas.microsoft.com/office/drawing/2014/main" id="{3E561662-0D0B-4AED-AB04-D1AE3501D593}"/>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9" t="12642" r="50000" b="14589"/>
          <a:stretch/>
        </p:blipFill>
        <p:spPr>
          <a:xfrm>
            <a:off x="5499100" y="348749"/>
            <a:ext cx="6692900" cy="6509251"/>
          </a:xfrm>
          <a:prstGeom prst="rect">
            <a:avLst/>
          </a:prstGeom>
        </p:spPr>
      </p:pic>
      <p:sp>
        <p:nvSpPr>
          <p:cNvPr id="15" name="Title 1">
            <a:extLst>
              <a:ext uri="{FF2B5EF4-FFF2-40B4-BE49-F238E27FC236}">
                <a16:creationId xmlns:a16="http://schemas.microsoft.com/office/drawing/2014/main" id="{4C412A92-9519-4519-A789-640A2F67C6AB}"/>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latin typeface="Century Gothic" panose="020B0502020202020204" pitchFamily="34" charset="0"/>
              </a:defRPr>
            </a:lvl1pPr>
          </a:lstStyle>
          <a:p>
            <a:r>
              <a:rPr lang="en-US" noProof="0" dirty="0"/>
              <a:t>Click to edit master title style</a:t>
            </a:r>
          </a:p>
        </p:txBody>
      </p:sp>
      <p:sp>
        <p:nvSpPr>
          <p:cNvPr id="16" name="Subtitle 2">
            <a:extLst>
              <a:ext uri="{FF2B5EF4-FFF2-40B4-BE49-F238E27FC236}">
                <a16:creationId xmlns:a16="http://schemas.microsoft.com/office/drawing/2014/main" id="{3521ED30-FE02-4A6F-8451-4CBC28F63926}"/>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Tree>
    <p:extLst>
      <p:ext uri="{BB962C8B-B14F-4D97-AF65-F5344CB8AC3E}">
        <p14:creationId xmlns:p14="http://schemas.microsoft.com/office/powerpoint/2010/main" val="4048583358"/>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Slide (Pictur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149244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348343" y="3880691"/>
            <a:ext cx="4642757" cy="1801524"/>
          </a:xfrm>
        </p:spPr>
        <p:txBody>
          <a:bodyPr vert="horz" anchor="b">
            <a:noAutofit/>
          </a:bodyPr>
          <a:lstStyle>
            <a:lvl1pPr algn="l">
              <a:defRPr sz="3600">
                <a:solidFill>
                  <a:srgbClr val="004876"/>
                </a:solidFill>
              </a:defRPr>
            </a:lvl1pPr>
          </a:lstStyle>
          <a:p>
            <a:r>
              <a:rPr lang="en-US" noProof="0" dirty="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348341" y="5769039"/>
            <a:ext cx="4642757" cy="349250"/>
          </a:xfrm>
        </p:spPr>
        <p:txBody>
          <a:bodyPr lIns="0" tIns="0" rIns="0" bIns="0" anchor="ctr">
            <a:noAutofit/>
          </a:bodyPr>
          <a:lstStyle>
            <a:lvl1pPr marL="0" indent="0" algn="l">
              <a:buNone/>
              <a:defRPr sz="2000">
                <a:solidFill>
                  <a:srgbClr val="00A5B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pic>
        <p:nvPicPr>
          <p:cNvPr id="18" name="Graphic 17">
            <a:extLst>
              <a:ext uri="{FF2B5EF4-FFF2-40B4-BE49-F238E27FC236}">
                <a16:creationId xmlns:a16="http://schemas.microsoft.com/office/drawing/2014/main" id="{453431A5-3B3A-4BB8-A6CF-ED829DDA1E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341" y="348749"/>
            <a:ext cx="1856143" cy="1613138"/>
          </a:xfrm>
          <a:prstGeom prst="rect">
            <a:avLst/>
          </a:prstGeom>
        </p:spPr>
      </p:pic>
      <p:sp>
        <p:nvSpPr>
          <p:cNvPr id="20" name="Picture Placeholder 19">
            <a:extLst>
              <a:ext uri="{FF2B5EF4-FFF2-40B4-BE49-F238E27FC236}">
                <a16:creationId xmlns:a16="http://schemas.microsoft.com/office/drawing/2014/main" id="{35B2A1FE-43F6-4703-98F1-2A236BD026C9}"/>
              </a:ext>
            </a:extLst>
          </p:cNvPr>
          <p:cNvSpPr>
            <a:spLocks noGrp="1"/>
          </p:cNvSpPr>
          <p:nvPr>
            <p:ph type="pic" sz="quarter" idx="10"/>
          </p:nvPr>
        </p:nvSpPr>
        <p:spPr>
          <a:xfrm>
            <a:off x="5499095" y="0"/>
            <a:ext cx="6692905" cy="6858000"/>
          </a:xfrm>
          <a:solidFill>
            <a:srgbClr val="004876"/>
          </a:solidFill>
        </p:spPr>
        <p:txBody>
          <a:bodyPr/>
          <a:lstStyle/>
          <a:p>
            <a:r>
              <a:rPr lang="en-US"/>
              <a:t>Click icon to add picture</a:t>
            </a:r>
            <a:endParaRPr lang="ru-RU"/>
          </a:p>
        </p:txBody>
      </p:sp>
    </p:spTree>
    <p:extLst>
      <p:ext uri="{BB962C8B-B14F-4D97-AF65-F5344CB8AC3E}">
        <p14:creationId xmlns:p14="http://schemas.microsoft.com/office/powerpoint/2010/main" val="3769392788"/>
      </p:ext>
    </p:extLst>
  </p:cSld>
  <p:clrMapOvr>
    <a:masterClrMapping/>
  </p:clrMapOvr>
  <p:hf hdr="0" dt="0"/>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90254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Verdana" panose="020B0604030504040204" pitchFamily="34" charset="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885668" y="1691464"/>
            <a:ext cx="6741079" cy="2387600"/>
          </a:xfrm>
        </p:spPr>
        <p:txBody>
          <a:bodyPr>
            <a:noAutofit/>
          </a:bodyPr>
          <a:lstStyle>
            <a:lvl1pPr>
              <a:defRPr sz="3600"/>
            </a:lvl1pPr>
          </a:lstStyle>
          <a:p>
            <a:r>
              <a:rPr lang="en-US" noProof="0"/>
              <a:t>Click to edit Master title style</a:t>
            </a:r>
            <a:endParaRPr lang="en-US" noProof="0" dirty="0"/>
          </a:p>
        </p:txBody>
      </p:sp>
    </p:spTree>
    <p:extLst>
      <p:ext uri="{BB962C8B-B14F-4D97-AF65-F5344CB8AC3E}">
        <p14:creationId xmlns:p14="http://schemas.microsoft.com/office/powerpoint/2010/main" val="202377282"/>
      </p:ext>
    </p:extLst>
  </p:cSld>
  <p:clrMapOvr>
    <a:masterClrMapping/>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30"/>
            </p:custDataLst>
            <p:extLst>
              <p:ext uri="{D42A27DB-BD31-4B8C-83A1-F6EECF244321}">
                <p14:modId xmlns:p14="http://schemas.microsoft.com/office/powerpoint/2010/main" val="153490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Inter" panose="020B0502030000000004" pitchFamily="34" charset="0"/>
              <a:ea typeface="Inter" panose="020B0502030000000004" pitchFamily="34" charset="0"/>
              <a:cs typeface="Inter" panose="020B0502030000000004" pitchFamily="34" charset="0"/>
              <a:sym typeface="Inter" panose="020B0502030000000004" pitchFamily="34"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382384" y="179388"/>
            <a:ext cx="11438313" cy="708715"/>
          </a:xfrm>
          <a:prstGeom prst="rect">
            <a:avLst/>
          </a:prstGeom>
        </p:spPr>
        <p:txBody>
          <a:bodyPr vert="horz" lIns="0" tIns="0" rIns="0" bIns="0" rtlCol="0" anchor="ctr">
            <a:normAutofit/>
          </a:bodyPr>
          <a:lstStyle/>
          <a:p>
            <a:r>
              <a:rPr lang="en-US" noProof="0" dirty="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382384" y="1247775"/>
            <a:ext cx="11438313" cy="4690732"/>
          </a:xfrm>
          <a:prstGeom prst="rect">
            <a:avLst/>
          </a:prstGeom>
        </p:spPr>
        <p:txBody>
          <a:bodyPr vert="horz" lIns="72000" tIns="72000" rIns="72000" bIns="7200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1314734" y="6342890"/>
            <a:ext cx="505963" cy="374690"/>
          </a:xfrm>
          <a:prstGeom prst="rect">
            <a:avLst/>
          </a:prstGeom>
        </p:spPr>
        <p:txBody>
          <a:bodyPr vert="horz" lIns="0" tIns="0" rIns="0" bIns="0" rtlCol="0" anchor="b"/>
          <a:lstStyle>
            <a:lvl1pPr algn="r">
              <a:defRPr sz="1200">
                <a:solidFill>
                  <a:schemeClr val="tx1">
                    <a:tint val="75000"/>
                  </a:schemeClr>
                </a:solidFill>
                <a:latin typeface="Century Gothic" panose="020B0502020202020204" pitchFamily="34" charset="0"/>
                <a:ea typeface="Inter" panose="020B0502030000000004" pitchFamily="34" charset="0"/>
                <a:cs typeface="Inter" panose="020B0502030000000004" pitchFamily="34" charset="0"/>
              </a:defRPr>
            </a:lvl1pPr>
          </a:lstStyle>
          <a:p>
            <a:fld id="{ABB6D191-819E-455F-BC39-F2381519C0C1}" type="slidenum">
              <a:rPr lang="en-US" smtClean="0"/>
              <a:pPr/>
              <a:t>‹#›</a:t>
            </a:fld>
            <a:endParaRPr lang="en-US" dirty="0"/>
          </a:p>
        </p:txBody>
      </p:sp>
      <p:pic>
        <p:nvPicPr>
          <p:cNvPr id="9" name="Picture 8" descr="A close up of a logo&#10;&#10;Description automatically generated">
            <a:extLst>
              <a:ext uri="{FF2B5EF4-FFF2-40B4-BE49-F238E27FC236}">
                <a16:creationId xmlns:a16="http://schemas.microsoft.com/office/drawing/2014/main" id="{B037E079-A572-462D-B540-026FBADEE11E}"/>
              </a:ext>
            </a:extLst>
          </p:cNvPr>
          <p:cNvPicPr>
            <a:picLocks noChangeAspect="1"/>
          </p:cNvPicPr>
          <p:nvPr userDrawn="1"/>
        </p:nvPicPr>
        <p:blipFill rotWithShape="1">
          <a:blip r:embed="rId34" cstate="screen">
            <a:extLst>
              <a:ext uri="{28A0092B-C50C-407E-A947-70E740481C1C}">
                <a14:useLocalDpi xmlns:a14="http://schemas.microsoft.com/office/drawing/2010/main"/>
              </a:ext>
            </a:extLst>
          </a:blip>
          <a:srcRect/>
          <a:stretch/>
        </p:blipFill>
        <p:spPr>
          <a:xfrm>
            <a:off x="216215" y="6272680"/>
            <a:ext cx="1229785" cy="515110"/>
          </a:xfrm>
          <a:prstGeom prst="rect">
            <a:avLst/>
          </a:prstGeom>
        </p:spPr>
      </p:pic>
      <p:sp>
        <p:nvSpPr>
          <p:cNvPr id="10" name="Footer Placeholder 3">
            <a:extLst>
              <a:ext uri="{FF2B5EF4-FFF2-40B4-BE49-F238E27FC236}">
                <a16:creationId xmlns:a16="http://schemas.microsoft.com/office/drawing/2014/main" id="{BD9A595F-5676-77AE-04B5-2BA77EE55120}"/>
              </a:ext>
            </a:extLst>
          </p:cNvPr>
          <p:cNvSpPr>
            <a:spLocks noGrp="1"/>
          </p:cNvSpPr>
          <p:nvPr>
            <p:ph type="ftr" sz="quarter" idx="3"/>
          </p:nvPr>
        </p:nvSpPr>
        <p:spPr>
          <a:xfrm>
            <a:off x="1446000" y="6339057"/>
            <a:ext cx="9675845" cy="374690"/>
          </a:xfrm>
          <a:prstGeom prst="rect">
            <a:avLst/>
          </a:prstGeom>
        </p:spPr>
        <p:txBody>
          <a:bodyPr/>
          <a:lstStyle>
            <a:lvl1pPr>
              <a:defRPr sz="900">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187506889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Lst>
  <p:hf hdr="0" dt="0"/>
  <p:txStyles>
    <p:titleStyle>
      <a:lvl1pPr algn="l" defTabSz="914400" rtl="0" eaLnBrk="1" latinLnBrk="0" hangingPunct="1">
        <a:lnSpc>
          <a:spcPct val="90000"/>
        </a:lnSpc>
        <a:spcBef>
          <a:spcPct val="0"/>
        </a:spcBef>
        <a:buNone/>
        <a:defRPr sz="2400" b="1" kern="1200" cap="none" baseline="0">
          <a:solidFill>
            <a:schemeClr val="tx2"/>
          </a:solidFill>
          <a:latin typeface="Century Gothic" panose="020B0502020202020204" pitchFamily="34" charset="0"/>
          <a:ea typeface="Verdana" panose="020B0604030504040204" pitchFamily="34" charset="0"/>
          <a:cs typeface="Inter" panose="020B0502030000000004" pitchFamily="34" charset="0"/>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1600" kern="1200" baseline="0">
          <a:solidFill>
            <a:schemeClr val="tx1"/>
          </a:solidFill>
          <a:latin typeface="Century Gothic" panose="020B0502020202020204" pitchFamily="34" charset="0"/>
          <a:ea typeface="Verdana" panose="020B0604030504040204" pitchFamily="34" charset="0"/>
          <a:cs typeface="Inter" panose="020B0502030000000004" pitchFamily="34" charset="0"/>
        </a:defRPr>
      </a:lvl1pPr>
      <a:lvl2pPr marL="36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2pPr>
      <a:lvl3pPr marL="54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3pPr>
      <a:lvl4pPr marL="720000" indent="-180000" algn="l" defTabSz="914400" rtl="0" eaLnBrk="1" latinLnBrk="0" hangingPunct="1">
        <a:lnSpc>
          <a:spcPct val="90000"/>
        </a:lnSpc>
        <a:spcBef>
          <a:spcPts val="500"/>
        </a:spcBef>
        <a:buFont typeface="Lato" panose="020F0502020204030203"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4pPr>
      <a:lvl5pPr marL="90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Verdana" panose="020B0604030504040204" pitchFamily="34" charset="0"/>
          <a:cs typeface="Inter" panose="020B05020300000000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customXml" Target="../../customXml/item8.xml"/><Relationship Id="rId1" Type="http://schemas.openxmlformats.org/officeDocument/2006/relationships/customXml" Target="../../customXml/item7.xml"/></Relationships>
</file>

<file path=ppt/slides/_rels/slide10.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tags" Target="../tags/tag66.xml"/><Relationship Id="rId7" Type="http://schemas.openxmlformats.org/officeDocument/2006/relationships/image" Target="../media/image21.jpg"/><Relationship Id="rId2" Type="http://schemas.openxmlformats.org/officeDocument/2006/relationships/customXml" Target="../../customXml/item26.xml"/><Relationship Id="rId1" Type="http://schemas.openxmlformats.org/officeDocument/2006/relationships/customXml" Target="../../customXml/item25.x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23.jpg"/><Relationship Id="rId2" Type="http://schemas.openxmlformats.org/officeDocument/2006/relationships/customXml" Target="../../customXml/item28.xml"/><Relationship Id="rId1" Type="http://schemas.openxmlformats.org/officeDocument/2006/relationships/customXml" Target="../../customXml/item27.x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24.jpg"/><Relationship Id="rId2" Type="http://schemas.openxmlformats.org/officeDocument/2006/relationships/customXml" Target="../../customXml/item30.xml"/><Relationship Id="rId1" Type="http://schemas.openxmlformats.org/officeDocument/2006/relationships/customXml" Target="../../customXml/item29.xml"/><Relationship Id="rId6" Type="http://schemas.openxmlformats.org/officeDocument/2006/relationships/image" Target="../media/image11.emf"/><Relationship Id="rId5" Type="http://schemas.openxmlformats.org/officeDocument/2006/relationships/oleObject" Target="../embeddings/oleObject41.bin"/><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5.jpg"/><Relationship Id="rId2" Type="http://schemas.openxmlformats.org/officeDocument/2006/relationships/customXml" Target="../../customXml/item32.xml"/><Relationship Id="rId1" Type="http://schemas.openxmlformats.org/officeDocument/2006/relationships/customXml" Target="../../customXml/item31.x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6.jpg"/><Relationship Id="rId2" Type="http://schemas.openxmlformats.org/officeDocument/2006/relationships/customXml" Target="../../customXml/item34.xml"/><Relationship Id="rId1" Type="http://schemas.openxmlformats.org/officeDocument/2006/relationships/customXml" Target="../../customXml/item33.xml"/><Relationship Id="rId6" Type="http://schemas.openxmlformats.org/officeDocument/2006/relationships/image" Target="../media/image11.emf"/><Relationship Id="rId5" Type="http://schemas.openxmlformats.org/officeDocument/2006/relationships/oleObject" Target="../embeddings/oleObject43.bin"/><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27.jpg"/><Relationship Id="rId2" Type="http://schemas.openxmlformats.org/officeDocument/2006/relationships/customXml" Target="../../customXml/item36.xml"/><Relationship Id="rId1" Type="http://schemas.openxmlformats.org/officeDocument/2006/relationships/customXml" Target="../../customXml/item35.xml"/><Relationship Id="rId6" Type="http://schemas.openxmlformats.org/officeDocument/2006/relationships/image" Target="../media/image11.emf"/><Relationship Id="rId5" Type="http://schemas.openxmlformats.org/officeDocument/2006/relationships/oleObject" Target="../embeddings/oleObject44.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2.jpg"/><Relationship Id="rId2" Type="http://schemas.openxmlformats.org/officeDocument/2006/relationships/customXml" Target="../../customXml/item10.xml"/><Relationship Id="rId1" Type="http://schemas.openxmlformats.org/officeDocument/2006/relationships/customXml" Target="../../customXml/item9.xml"/><Relationship Id="rId6" Type="http://schemas.openxmlformats.org/officeDocument/2006/relationships/image" Target="../media/image11.emf"/><Relationship Id="rId5" Type="http://schemas.openxmlformats.org/officeDocument/2006/relationships/oleObject" Target="../embeddings/oleObject31.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3.jpg"/><Relationship Id="rId2" Type="http://schemas.openxmlformats.org/officeDocument/2006/relationships/customXml" Target="../../customXml/item12.xml"/><Relationship Id="rId1" Type="http://schemas.openxmlformats.org/officeDocument/2006/relationships/customXml" Target="../../customXml/item11.x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jpeg"/><Relationship Id="rId2" Type="http://schemas.openxmlformats.org/officeDocument/2006/relationships/customXml" Target="../../customXml/item14.xml"/><Relationship Id="rId1" Type="http://schemas.openxmlformats.org/officeDocument/2006/relationships/customXml" Target="../../customXml/item13.x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5.jpg"/><Relationship Id="rId2" Type="http://schemas.openxmlformats.org/officeDocument/2006/relationships/customXml" Target="../../customXml/item16.xml"/><Relationship Id="rId1" Type="http://schemas.openxmlformats.org/officeDocument/2006/relationships/customXml" Target="../../customXml/item15.x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62.xml"/><Relationship Id="rId7" Type="http://schemas.openxmlformats.org/officeDocument/2006/relationships/image" Target="../media/image16.jpg"/><Relationship Id="rId2" Type="http://schemas.openxmlformats.org/officeDocument/2006/relationships/customXml" Target="../../customXml/item18.xml"/><Relationship Id="rId1" Type="http://schemas.openxmlformats.org/officeDocument/2006/relationships/customXml" Target="../../customXml/item17.xml"/><Relationship Id="rId6" Type="http://schemas.openxmlformats.org/officeDocument/2006/relationships/image" Target="../media/image11.emf"/><Relationship Id="rId5" Type="http://schemas.openxmlformats.org/officeDocument/2006/relationships/oleObject" Target="../embeddings/oleObject35.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8.jpg"/><Relationship Id="rId2" Type="http://schemas.openxmlformats.org/officeDocument/2006/relationships/customXml" Target="../../customXml/item20.xml"/><Relationship Id="rId1" Type="http://schemas.openxmlformats.org/officeDocument/2006/relationships/customXml" Target="../../customXml/item19.xml"/><Relationship Id="rId6" Type="http://schemas.openxmlformats.org/officeDocument/2006/relationships/image" Target="../media/image11.emf"/><Relationship Id="rId5" Type="http://schemas.openxmlformats.org/officeDocument/2006/relationships/oleObject" Target="../embeddings/oleObject36.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9.jpg"/><Relationship Id="rId2" Type="http://schemas.openxmlformats.org/officeDocument/2006/relationships/customXml" Target="../../customXml/item22.xml"/><Relationship Id="rId1" Type="http://schemas.openxmlformats.org/officeDocument/2006/relationships/customXml" Target="../../customXml/item21.x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0.jpg"/><Relationship Id="rId2" Type="http://schemas.openxmlformats.org/officeDocument/2006/relationships/customXml" Target="../../customXml/item24.xml"/><Relationship Id="rId1" Type="http://schemas.openxmlformats.org/officeDocument/2006/relationships/customXml" Target="../../customXml/item23.x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136BE-7352-4830-877F-D64FE43E405D}"/>
              </a:ext>
            </a:extLst>
          </p:cNvPr>
          <p:cNvSpPr>
            <a:spLocks noGrp="1"/>
          </p:cNvSpPr>
          <p:nvPr>
            <p:ph type="ctrTitle"/>
          </p:nvPr>
        </p:nvSpPr>
        <p:spPr>
          <a:xfrm>
            <a:off x="348341" y="2487965"/>
            <a:ext cx="8137290" cy="1801524"/>
          </a:xfrm>
        </p:spPr>
        <p:txBody>
          <a:bodyPr/>
          <a:lstStyle/>
          <a:p>
            <a:r>
              <a:rPr lang="en-US" dirty="0"/>
              <a:t>Building Grids Faster: the Backbone of the Energy Transition</a:t>
            </a:r>
            <a:br>
              <a:rPr lang="en-US" dirty="0"/>
            </a:br>
            <a:r>
              <a:rPr lang="en-US" dirty="0"/>
              <a:t>Key Messages</a:t>
            </a:r>
            <a:endParaRPr lang="en-GB" dirty="0"/>
          </a:p>
        </p:txBody>
      </p:sp>
      <p:sp>
        <p:nvSpPr>
          <p:cNvPr id="3" name="Subtitle 2">
            <a:extLst>
              <a:ext uri="{FF2B5EF4-FFF2-40B4-BE49-F238E27FC236}">
                <a16:creationId xmlns:a16="http://schemas.microsoft.com/office/drawing/2014/main" id="{8F2753B9-FE16-41CB-A964-89E66921D7A1}"/>
              </a:ext>
            </a:extLst>
          </p:cNvPr>
          <p:cNvSpPr>
            <a:spLocks noGrp="1"/>
          </p:cNvSpPr>
          <p:nvPr>
            <p:ph type="subTitle" idx="1"/>
          </p:nvPr>
        </p:nvSpPr>
        <p:spPr>
          <a:xfrm>
            <a:off x="348341" y="4409965"/>
            <a:ext cx="6371438" cy="349250"/>
          </a:xfrm>
        </p:spPr>
        <p:txBody>
          <a:bodyPr/>
          <a:lstStyle/>
          <a:p>
            <a:r>
              <a:rPr lang="en-US" dirty="0"/>
              <a:t>17 September</a:t>
            </a:r>
            <a:endParaRPr lang="en-GB" dirty="0"/>
          </a:p>
        </p:txBody>
      </p:sp>
    </p:spTree>
    <p:custDataLst>
      <p:custData r:id="rId1"/>
      <p:custData r:id="rId2"/>
    </p:custDataLst>
    <p:extLst>
      <p:ext uri="{BB962C8B-B14F-4D97-AF65-F5344CB8AC3E}">
        <p14:creationId xmlns:p14="http://schemas.microsoft.com/office/powerpoint/2010/main" val="2067194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0652B27-C402-3DF8-7DF6-BCFD11DD9D36}"/>
              </a:ext>
            </a:extLst>
          </p:cNvPr>
          <p:cNvGraphicFramePr>
            <a:graphicFrameLocks noChangeAspect="1"/>
          </p:cNvGraphicFramePr>
          <p:nvPr>
            <p:custDataLst>
              <p:tags r:id="rId3"/>
            </p:custDataLst>
            <p:extLst>
              <p:ext uri="{D42A27DB-BD31-4B8C-83A1-F6EECF244321}">
                <p14:modId xmlns:p14="http://schemas.microsoft.com/office/powerpoint/2010/main" val="256797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think-cell data - do not delete" hidden="1">
                        <a:extLst>
                          <a:ext uri="{FF2B5EF4-FFF2-40B4-BE49-F238E27FC236}">
                            <a16:creationId xmlns:a16="http://schemas.microsoft.com/office/drawing/2014/main" id="{D0652B27-C402-3DF8-7DF6-BCFD11DD9D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8" y="140420"/>
            <a:ext cx="11710922" cy="872838"/>
          </a:xfrm>
        </p:spPr>
        <p:txBody>
          <a:bodyPr vert="horz"/>
          <a:lstStyle/>
          <a:p>
            <a:r>
              <a:rPr lang="en-US" dirty="0"/>
              <a:t>Lack of grid capacity is having significant consequences, including delaying </a:t>
            </a:r>
            <a:br>
              <a:rPr lang="en-US" dirty="0"/>
            </a:br>
            <a:r>
              <a:rPr lang="en-US" dirty="0"/>
              <a:t>renewable connections and increasing system costs via congestion payment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10</a:t>
            </a:fld>
            <a:endParaRPr lang="en-US" noProof="0" dirty="0"/>
          </a:p>
        </p:txBody>
      </p:sp>
      <p:pic>
        <p:nvPicPr>
          <p:cNvPr id="6" name="Picture 5" descr="A graph of different colored bars&#10;&#10;Description automatically generated">
            <a:extLst>
              <a:ext uri="{FF2B5EF4-FFF2-40B4-BE49-F238E27FC236}">
                <a16:creationId xmlns:a16="http://schemas.microsoft.com/office/drawing/2014/main" id="{37263F5E-2303-7746-DF52-20CD27ED58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63146"/>
            <a:ext cx="6027375" cy="4166689"/>
          </a:xfrm>
          <a:prstGeom prst="rect">
            <a:avLst/>
          </a:prstGeom>
        </p:spPr>
      </p:pic>
      <p:pic>
        <p:nvPicPr>
          <p:cNvPr id="5" name="Picture 4" descr="A graph of transmission grid congestion&#10;&#10;Description automatically generated">
            <a:extLst>
              <a:ext uri="{FF2B5EF4-FFF2-40B4-BE49-F238E27FC236}">
                <a16:creationId xmlns:a16="http://schemas.microsoft.com/office/drawing/2014/main" id="{8F174917-33B2-D084-0202-331A1935D9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77935" y="1345655"/>
            <a:ext cx="6414065" cy="4166689"/>
          </a:xfrm>
          <a:prstGeom prst="rect">
            <a:avLst/>
          </a:prstGeom>
        </p:spPr>
      </p:pic>
    </p:spTree>
    <p:custDataLst>
      <p:custData r:id="rId1"/>
      <p:custData r:id="rId2"/>
    </p:custDataLst>
    <p:extLst>
      <p:ext uri="{BB962C8B-B14F-4D97-AF65-F5344CB8AC3E}">
        <p14:creationId xmlns:p14="http://schemas.microsoft.com/office/powerpoint/2010/main" val="4923057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B066DE1-B199-5E45-FFB9-AD67751CCF35}"/>
              </a:ext>
            </a:extLst>
          </p:cNvPr>
          <p:cNvGraphicFramePr>
            <a:graphicFrameLocks noChangeAspect="1"/>
          </p:cNvGraphicFramePr>
          <p:nvPr>
            <p:custDataLst>
              <p:tags r:id="rId3"/>
            </p:custDataLst>
            <p:extLst>
              <p:ext uri="{D42A27DB-BD31-4B8C-83A1-F6EECF244321}">
                <p14:modId xmlns:p14="http://schemas.microsoft.com/office/powerpoint/2010/main" val="169251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6B066DE1-B199-5E45-FFB9-AD67751CCF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220474" y="152193"/>
            <a:ext cx="15178022" cy="872838"/>
          </a:xfrm>
        </p:spPr>
        <p:txBody>
          <a:bodyPr vert="horz"/>
          <a:lstStyle/>
          <a:p>
            <a:r>
              <a:rPr lang="en-US" dirty="0"/>
              <a:t>Failing to build grids at speed required will block large volumes of cheap, </a:t>
            </a:r>
            <a:br>
              <a:rPr lang="en-US" dirty="0"/>
            </a:br>
            <a:r>
              <a:rPr lang="en-US" dirty="0"/>
              <a:t>clean renewables coming online – locking in higher emissions and cost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11</a:t>
            </a:fld>
            <a:endParaRPr lang="en-US" noProof="0" dirty="0"/>
          </a:p>
        </p:txBody>
      </p:sp>
      <p:pic>
        <p:nvPicPr>
          <p:cNvPr id="5" name="Picture 4" descr="A graph of energy efficiency&#10;&#10;Description automatically generated with medium confidence">
            <a:extLst>
              <a:ext uri="{FF2B5EF4-FFF2-40B4-BE49-F238E27FC236}">
                <a16:creationId xmlns:a16="http://schemas.microsoft.com/office/drawing/2014/main" id="{7EC800BD-08B6-2C85-2ED6-FB012F8B5908}"/>
              </a:ext>
            </a:extLst>
          </p:cNvPr>
          <p:cNvPicPr>
            <a:picLocks noChangeAspect="1"/>
          </p:cNvPicPr>
          <p:nvPr/>
        </p:nvPicPr>
        <p:blipFill>
          <a:blip r:embed="rId7">
            <a:extLst>
              <a:ext uri="{28A0092B-C50C-407E-A947-70E740481C1C}">
                <a14:useLocalDpi xmlns:a14="http://schemas.microsoft.com/office/drawing/2010/main" val="0"/>
              </a:ext>
            </a:extLst>
          </a:blip>
          <a:srcRect t="3274"/>
          <a:stretch/>
        </p:blipFill>
        <p:spPr>
          <a:xfrm>
            <a:off x="2103903" y="1025030"/>
            <a:ext cx="7984193" cy="5832969"/>
          </a:xfrm>
          <a:prstGeom prst="rect">
            <a:avLst/>
          </a:prstGeom>
        </p:spPr>
      </p:pic>
    </p:spTree>
    <p:custDataLst>
      <p:custData r:id="rId1"/>
      <p:custData r:id="rId2"/>
    </p:custDataLst>
    <p:extLst>
      <p:ext uri="{BB962C8B-B14F-4D97-AF65-F5344CB8AC3E}">
        <p14:creationId xmlns:p14="http://schemas.microsoft.com/office/powerpoint/2010/main" val="1260301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5FE81E7-AA5B-CA4C-9DB7-86588EED50A0}"/>
              </a:ext>
            </a:extLst>
          </p:cNvPr>
          <p:cNvGraphicFramePr>
            <a:graphicFrameLocks noChangeAspect="1"/>
          </p:cNvGraphicFramePr>
          <p:nvPr>
            <p:custDataLst>
              <p:tags r:id="rId3"/>
            </p:custDataLst>
            <p:extLst>
              <p:ext uri="{D42A27DB-BD31-4B8C-83A1-F6EECF244321}">
                <p14:modId xmlns:p14="http://schemas.microsoft.com/office/powerpoint/2010/main" val="315994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05FE81E7-AA5B-CA4C-9DB7-86588EED50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8" y="140420"/>
            <a:ext cx="15178022" cy="872838"/>
          </a:xfrm>
        </p:spPr>
        <p:txBody>
          <a:bodyPr vert="horz"/>
          <a:lstStyle/>
          <a:p>
            <a:r>
              <a:rPr lang="en-US" dirty="0"/>
              <a:t>To accelerate the pace and scale of build policymakers and industry must</a:t>
            </a:r>
            <a:br>
              <a:rPr lang="en-US" dirty="0"/>
            </a:br>
            <a:r>
              <a:rPr lang="en-US" dirty="0"/>
              <a:t>take action across four critical area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12</a:t>
            </a:fld>
            <a:endParaRPr lang="en-US" noProof="0" dirty="0"/>
          </a:p>
        </p:txBody>
      </p:sp>
      <p:pic>
        <p:nvPicPr>
          <p:cNvPr id="5" name="Picture 4" descr="A close-up of a grid&#10;&#10;Description automatically generated">
            <a:extLst>
              <a:ext uri="{FF2B5EF4-FFF2-40B4-BE49-F238E27FC236}">
                <a16:creationId xmlns:a16="http://schemas.microsoft.com/office/drawing/2014/main" id="{D1FDAA35-DBC8-EB8E-5254-D1CA26B43D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85438" y="1183447"/>
            <a:ext cx="6821124" cy="5674553"/>
          </a:xfrm>
          <a:prstGeom prst="rect">
            <a:avLst/>
          </a:prstGeom>
        </p:spPr>
      </p:pic>
    </p:spTree>
    <p:custDataLst>
      <p:custData r:id="rId1"/>
      <p:custData r:id="rId2"/>
    </p:custDataLst>
    <p:extLst>
      <p:ext uri="{BB962C8B-B14F-4D97-AF65-F5344CB8AC3E}">
        <p14:creationId xmlns:p14="http://schemas.microsoft.com/office/powerpoint/2010/main" val="3641417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D1D51BD-42E6-0C2D-BB2E-F1B6C8BC9A23}"/>
              </a:ext>
            </a:extLst>
          </p:cNvPr>
          <p:cNvGraphicFramePr>
            <a:graphicFrameLocks noChangeAspect="1"/>
          </p:cNvGraphicFramePr>
          <p:nvPr>
            <p:custDataLst>
              <p:tags r:id="rId3"/>
            </p:custDataLst>
            <p:extLst>
              <p:ext uri="{D42A27DB-BD31-4B8C-83A1-F6EECF244321}">
                <p14:modId xmlns:p14="http://schemas.microsoft.com/office/powerpoint/2010/main" val="79046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think-cell data - do not delete" hidden="1">
                        <a:extLst>
                          <a:ext uri="{FF2B5EF4-FFF2-40B4-BE49-F238E27FC236}">
                            <a16:creationId xmlns:a16="http://schemas.microsoft.com/office/drawing/2014/main" id="{AD1D51BD-42E6-0C2D-BB2E-F1B6C8BC9A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8" y="140420"/>
            <a:ext cx="15178022" cy="872838"/>
          </a:xfrm>
        </p:spPr>
        <p:txBody>
          <a:bodyPr vert="horz"/>
          <a:lstStyle/>
          <a:p>
            <a:r>
              <a:rPr lang="en-US" dirty="0"/>
              <a:t>A strategic vision for grids and generation, coordinated across key </a:t>
            </a:r>
            <a:br>
              <a:rPr lang="en-US" dirty="0"/>
            </a:br>
            <a:r>
              <a:rPr lang="en-US" dirty="0"/>
              <a:t>stakeholders and supported by clear data is needed</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13</a:t>
            </a:fld>
            <a:endParaRPr lang="en-US" noProof="0" dirty="0"/>
          </a:p>
        </p:txBody>
      </p:sp>
      <p:pic>
        <p:nvPicPr>
          <p:cNvPr id="6" name="Picture 5" descr="A map of the world&#10;&#10;Description automatically generated">
            <a:extLst>
              <a:ext uri="{FF2B5EF4-FFF2-40B4-BE49-F238E27FC236}">
                <a16:creationId xmlns:a16="http://schemas.microsoft.com/office/drawing/2014/main" id="{F046DC9F-D601-AF25-6072-10EDE1CBFB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56365" y="967402"/>
            <a:ext cx="7279269" cy="5890598"/>
          </a:xfrm>
          <a:prstGeom prst="rect">
            <a:avLst/>
          </a:prstGeom>
        </p:spPr>
      </p:pic>
    </p:spTree>
    <p:custDataLst>
      <p:custData r:id="rId1"/>
      <p:custData r:id="rId2"/>
    </p:custDataLst>
    <p:extLst>
      <p:ext uri="{BB962C8B-B14F-4D97-AF65-F5344CB8AC3E}">
        <p14:creationId xmlns:p14="http://schemas.microsoft.com/office/powerpoint/2010/main" val="954636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975D447-47ED-06A0-92B9-6F5FE6DB6134}"/>
              </a:ext>
            </a:extLst>
          </p:cNvPr>
          <p:cNvGraphicFramePr>
            <a:graphicFrameLocks noChangeAspect="1"/>
          </p:cNvGraphicFramePr>
          <p:nvPr>
            <p:custDataLst>
              <p:tags r:id="rId3"/>
            </p:custDataLst>
            <p:extLst>
              <p:ext uri="{D42A27DB-BD31-4B8C-83A1-F6EECF244321}">
                <p14:modId xmlns:p14="http://schemas.microsoft.com/office/powerpoint/2010/main" val="2564633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1975D447-47ED-06A0-92B9-6F5FE6DB61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p:txBody>
          <a:bodyPr vert="horz"/>
          <a:lstStyle/>
          <a:p>
            <a:r>
              <a:rPr lang="en-US" dirty="0"/>
              <a:t>Building wires underground may help address societal support challenge,  but comes at a cost 7 times that of above ground wire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14</a:t>
            </a:fld>
            <a:endParaRPr lang="en-US" noProof="0" dirty="0"/>
          </a:p>
        </p:txBody>
      </p:sp>
      <p:pic>
        <p:nvPicPr>
          <p:cNvPr id="5" name="Picture 4" descr="A graph of construction power lines&#10;&#10;Description automatically generated">
            <a:extLst>
              <a:ext uri="{FF2B5EF4-FFF2-40B4-BE49-F238E27FC236}">
                <a16:creationId xmlns:a16="http://schemas.microsoft.com/office/drawing/2014/main" id="{0B4FAD4F-D789-5946-C43F-B9530F1709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49798" y="949758"/>
            <a:ext cx="8292403" cy="5909619"/>
          </a:xfrm>
          <a:prstGeom prst="rect">
            <a:avLst/>
          </a:prstGeom>
        </p:spPr>
      </p:pic>
    </p:spTree>
    <p:custDataLst>
      <p:custData r:id="rId1"/>
      <p:custData r:id="rId2"/>
    </p:custDataLst>
    <p:extLst>
      <p:ext uri="{BB962C8B-B14F-4D97-AF65-F5344CB8AC3E}">
        <p14:creationId xmlns:p14="http://schemas.microsoft.com/office/powerpoint/2010/main" val="4292569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BDFE9A-BAF2-2571-C9FD-BA4332AEA10D}"/>
              </a:ext>
            </a:extLst>
          </p:cNvPr>
          <p:cNvGraphicFramePr>
            <a:graphicFrameLocks noChangeAspect="1"/>
          </p:cNvGraphicFramePr>
          <p:nvPr>
            <p:custDataLst>
              <p:tags r:id="rId3"/>
            </p:custDataLst>
            <p:extLst>
              <p:ext uri="{D42A27DB-BD31-4B8C-83A1-F6EECF244321}">
                <p14:modId xmlns:p14="http://schemas.microsoft.com/office/powerpoint/2010/main" val="357270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think-cell data - do not delete" hidden="1">
                        <a:extLst>
                          <a:ext uri="{FF2B5EF4-FFF2-40B4-BE49-F238E27FC236}">
                            <a16:creationId xmlns:a16="http://schemas.microsoft.com/office/drawing/2014/main" id="{AABDFE9A-BAF2-2571-C9FD-BA4332AEA1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406400" y="25400"/>
            <a:ext cx="11414297" cy="872838"/>
          </a:xfrm>
        </p:spPr>
        <p:txBody>
          <a:bodyPr vert="horz"/>
          <a:lstStyle/>
          <a:p>
            <a:r>
              <a:rPr lang="en-US" dirty="0"/>
              <a:t>Financing structures should be reformed and routes to access finance improved</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15</a:t>
            </a:fld>
            <a:endParaRPr lang="en-US" noProof="0" dirty="0"/>
          </a:p>
        </p:txBody>
      </p:sp>
      <p:pic>
        <p:nvPicPr>
          <p:cNvPr id="6" name="Picture 5" descr="A diagram of a framework&#10;&#10;Description automatically generated">
            <a:extLst>
              <a:ext uri="{FF2B5EF4-FFF2-40B4-BE49-F238E27FC236}">
                <a16:creationId xmlns:a16="http://schemas.microsoft.com/office/drawing/2014/main" id="{AFE70178-68FF-156F-0EBE-122E06ED58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7312" y="790395"/>
            <a:ext cx="7817375" cy="6004105"/>
          </a:xfrm>
          <a:prstGeom prst="rect">
            <a:avLst/>
          </a:prstGeom>
        </p:spPr>
      </p:pic>
    </p:spTree>
    <p:custDataLst>
      <p:custData r:id="rId1"/>
      <p:custData r:id="rId2"/>
    </p:custDataLst>
    <p:extLst>
      <p:ext uri="{BB962C8B-B14F-4D97-AF65-F5344CB8AC3E}">
        <p14:creationId xmlns:p14="http://schemas.microsoft.com/office/powerpoint/2010/main" val="237001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B0DCF8-B64D-1C9A-93AA-1FD0C8783A11}"/>
              </a:ext>
            </a:extLst>
          </p:cNvPr>
          <p:cNvGraphicFramePr>
            <a:graphicFrameLocks noChangeAspect="1"/>
          </p:cNvGraphicFramePr>
          <p:nvPr>
            <p:custDataLst>
              <p:tags r:id="rId3"/>
            </p:custDataLst>
            <p:extLst>
              <p:ext uri="{D42A27DB-BD31-4B8C-83A1-F6EECF244321}">
                <p14:modId xmlns:p14="http://schemas.microsoft.com/office/powerpoint/2010/main" val="341076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think-cell data - do not delete" hidden="1">
                        <a:extLst>
                          <a:ext uri="{FF2B5EF4-FFF2-40B4-BE49-F238E27FC236}">
                            <a16:creationId xmlns:a16="http://schemas.microsoft.com/office/drawing/2014/main" id="{7AB0DCF8-B64D-1C9A-93AA-1FD0C8783A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9" y="179388"/>
            <a:ext cx="11825221" cy="708715"/>
          </a:xfrm>
        </p:spPr>
        <p:txBody>
          <a:bodyPr vert="horz"/>
          <a:lstStyle/>
          <a:p>
            <a:r>
              <a:rPr lang="en-US" dirty="0"/>
              <a:t>The trajectory to net-zero will require significantly higher electricity use across the world to 2050</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2</a:t>
            </a:fld>
            <a:endParaRPr lang="en-US" noProof="0" dirty="0"/>
          </a:p>
        </p:txBody>
      </p:sp>
      <p:pic>
        <p:nvPicPr>
          <p:cNvPr id="7" name="Picture 6" descr="A graph of electricity use&#10;&#10;Description automatically generated">
            <a:extLst>
              <a:ext uri="{FF2B5EF4-FFF2-40B4-BE49-F238E27FC236}">
                <a16:creationId xmlns:a16="http://schemas.microsoft.com/office/drawing/2014/main" id="{AAE85D1A-0F9C-68FC-A211-B4093F166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79637" y="921563"/>
            <a:ext cx="7432725" cy="5936437"/>
          </a:xfrm>
          <a:prstGeom prst="rect">
            <a:avLst/>
          </a:prstGeom>
        </p:spPr>
      </p:pic>
    </p:spTree>
    <p:custDataLst>
      <p:custData r:id="rId1"/>
      <p:custData r:id="rId2"/>
    </p:custDataLst>
    <p:extLst>
      <p:ext uri="{BB962C8B-B14F-4D97-AF65-F5344CB8AC3E}">
        <p14:creationId xmlns:p14="http://schemas.microsoft.com/office/powerpoint/2010/main" val="240967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B004B3-EB02-3F05-49C1-71BECD83BCC1}"/>
              </a:ext>
            </a:extLst>
          </p:cNvPr>
          <p:cNvGraphicFramePr>
            <a:graphicFrameLocks noChangeAspect="1"/>
          </p:cNvGraphicFramePr>
          <p:nvPr>
            <p:custDataLst>
              <p:tags r:id="rId3"/>
            </p:custDataLst>
            <p:extLst>
              <p:ext uri="{D42A27DB-BD31-4B8C-83A1-F6EECF244321}">
                <p14:modId xmlns:p14="http://schemas.microsoft.com/office/powerpoint/2010/main" val="1297616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DAB004B3-EB02-3F05-49C1-71BECD83BC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9" y="179388"/>
            <a:ext cx="11825221" cy="708715"/>
          </a:xfrm>
        </p:spPr>
        <p:txBody>
          <a:bodyPr vert="horz"/>
          <a:lstStyle/>
          <a:p>
            <a:r>
              <a:rPr lang="en-US" dirty="0"/>
              <a:t>The way that electricity is generated and consumed is changing, moving to a more dispersed system</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3</a:t>
            </a:fld>
            <a:endParaRPr lang="en-US" noProof="0" dirty="0"/>
          </a:p>
        </p:txBody>
      </p:sp>
      <p:pic>
        <p:nvPicPr>
          <p:cNvPr id="5" name="Picture 4" descr="A diagram of power systems&#10;&#10;Description automatically generated">
            <a:extLst>
              <a:ext uri="{FF2B5EF4-FFF2-40B4-BE49-F238E27FC236}">
                <a16:creationId xmlns:a16="http://schemas.microsoft.com/office/drawing/2014/main" id="{FFFA3077-65D7-0483-096B-8F5C41CFFA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77184" y="1070075"/>
            <a:ext cx="6837632" cy="5787925"/>
          </a:xfrm>
          <a:prstGeom prst="rect">
            <a:avLst/>
          </a:prstGeom>
        </p:spPr>
      </p:pic>
    </p:spTree>
    <p:custDataLst>
      <p:custData r:id="rId1"/>
      <p:custData r:id="rId2"/>
    </p:custDataLst>
    <p:extLst>
      <p:ext uri="{BB962C8B-B14F-4D97-AF65-F5344CB8AC3E}">
        <p14:creationId xmlns:p14="http://schemas.microsoft.com/office/powerpoint/2010/main" val="830865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3BBEA5-B210-05B4-ED15-E0A6694AD139}"/>
              </a:ext>
            </a:extLst>
          </p:cNvPr>
          <p:cNvGraphicFramePr>
            <a:graphicFrameLocks noChangeAspect="1"/>
          </p:cNvGraphicFramePr>
          <p:nvPr>
            <p:custDataLst>
              <p:tags r:id="rId3"/>
            </p:custDataLst>
            <p:extLst>
              <p:ext uri="{D42A27DB-BD31-4B8C-83A1-F6EECF244321}">
                <p14:modId xmlns:p14="http://schemas.microsoft.com/office/powerpoint/2010/main" val="2766464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think-cell data - do not delete" hidden="1">
                        <a:extLst>
                          <a:ext uri="{FF2B5EF4-FFF2-40B4-BE49-F238E27FC236}">
                            <a16:creationId xmlns:a16="http://schemas.microsoft.com/office/drawing/2014/main" id="{5C3BBEA5-B210-05B4-ED15-E0A6694AD1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9" y="52240"/>
            <a:ext cx="11825221" cy="708715"/>
          </a:xfrm>
        </p:spPr>
        <p:txBody>
          <a:bodyPr vert="horz"/>
          <a:lstStyle/>
          <a:p>
            <a:r>
              <a:rPr lang="en-US" dirty="0"/>
              <a:t>Grids will evolve to become more complex and flexible in a system dominated by clean electrification</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4</a:t>
            </a:fld>
            <a:endParaRPr lang="en-US" noProof="0" dirty="0"/>
          </a:p>
        </p:txBody>
      </p:sp>
      <p:pic>
        <p:nvPicPr>
          <p:cNvPr id="6" name="Picture 5" descr="A diagram of a transportation system&#10;&#10;Description automatically generated with medium confidence">
            <a:extLst>
              <a:ext uri="{FF2B5EF4-FFF2-40B4-BE49-F238E27FC236}">
                <a16:creationId xmlns:a16="http://schemas.microsoft.com/office/drawing/2014/main" id="{33FA3580-5E4B-EB0C-5D6A-8B5BFD8893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27052" y="781852"/>
            <a:ext cx="4197748" cy="6076148"/>
          </a:xfrm>
          <a:prstGeom prst="rect">
            <a:avLst/>
          </a:prstGeom>
        </p:spPr>
      </p:pic>
    </p:spTree>
    <p:custDataLst>
      <p:custData r:id="rId1"/>
      <p:custData r:id="rId2"/>
    </p:custDataLst>
    <p:extLst>
      <p:ext uri="{BB962C8B-B14F-4D97-AF65-F5344CB8AC3E}">
        <p14:creationId xmlns:p14="http://schemas.microsoft.com/office/powerpoint/2010/main" val="1302328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1367CE-BD4B-DE9C-4BF4-8E49FB71B91C}"/>
              </a:ext>
            </a:extLst>
          </p:cNvPr>
          <p:cNvGraphicFramePr>
            <a:graphicFrameLocks noChangeAspect="1"/>
          </p:cNvGraphicFramePr>
          <p:nvPr>
            <p:custDataLst>
              <p:tags r:id="rId3"/>
            </p:custDataLst>
            <p:extLst>
              <p:ext uri="{D42A27DB-BD31-4B8C-83A1-F6EECF244321}">
                <p14:modId xmlns:p14="http://schemas.microsoft.com/office/powerpoint/2010/main" val="289566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981367CE-BD4B-DE9C-4BF4-8E49FB71B9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9" y="179388"/>
            <a:ext cx="11825221" cy="708715"/>
          </a:xfrm>
        </p:spPr>
        <p:txBody>
          <a:bodyPr vert="horz"/>
          <a:lstStyle/>
          <a:p>
            <a:r>
              <a:rPr lang="en-US" dirty="0"/>
              <a:t>The size of the grid will need to grow by over 50% by 2050 to meet net-zero trajectorie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5</a:t>
            </a:fld>
            <a:endParaRPr lang="en-US" noProof="0" dirty="0"/>
          </a:p>
        </p:txBody>
      </p:sp>
      <p:pic>
        <p:nvPicPr>
          <p:cNvPr id="5" name="Picture 4" descr="A graph of different colored and green bars&#10;&#10;Description automatically generated with medium confidence">
            <a:extLst>
              <a:ext uri="{FF2B5EF4-FFF2-40B4-BE49-F238E27FC236}">
                <a16:creationId xmlns:a16="http://schemas.microsoft.com/office/drawing/2014/main" id="{1C1AA45B-18AB-7EFB-C590-34561769B0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18612" y="758245"/>
            <a:ext cx="7554775" cy="6099755"/>
          </a:xfrm>
          <a:prstGeom prst="rect">
            <a:avLst/>
          </a:prstGeom>
        </p:spPr>
      </p:pic>
    </p:spTree>
    <p:custDataLst>
      <p:custData r:id="rId1"/>
      <p:custData r:id="rId2"/>
    </p:custDataLst>
    <p:extLst>
      <p:ext uri="{BB962C8B-B14F-4D97-AF65-F5344CB8AC3E}">
        <p14:creationId xmlns:p14="http://schemas.microsoft.com/office/powerpoint/2010/main" val="1106705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45AB9D5-F47F-4006-9346-6A96D6F30CBF}"/>
              </a:ext>
            </a:extLst>
          </p:cNvPr>
          <p:cNvGraphicFramePr>
            <a:graphicFrameLocks noChangeAspect="1"/>
          </p:cNvGraphicFramePr>
          <p:nvPr>
            <p:custDataLst>
              <p:tags r:id="rId3"/>
            </p:custDataLst>
            <p:extLst>
              <p:ext uri="{D42A27DB-BD31-4B8C-83A1-F6EECF244321}">
                <p14:modId xmlns:p14="http://schemas.microsoft.com/office/powerpoint/2010/main" val="49541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a16="http://schemas.microsoft.com/office/drawing/2014/main" id="{245AB9D5-F47F-4006-9346-6A96D6F30C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8" y="140420"/>
            <a:ext cx="11453919" cy="872838"/>
          </a:xfrm>
        </p:spPr>
        <p:txBody>
          <a:bodyPr vert="horz"/>
          <a:lstStyle/>
          <a:p>
            <a:r>
              <a:rPr lang="en-US" sz="2000" dirty="0"/>
              <a:t>Grid investment needs to rise rapidly from ~$300 billion p.a. today to ~800 billion p.a. in 2050, across new connections, system reinforcements and asset replacements</a:t>
            </a:r>
            <a:endParaRPr lang="en-GB" sz="2000"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6</a:t>
            </a:fld>
            <a:endParaRPr lang="en-US" noProof="0" dirty="0"/>
          </a:p>
        </p:txBody>
      </p:sp>
      <p:pic>
        <p:nvPicPr>
          <p:cNvPr id="6" name="Picture 5" descr="A graph of growth and growth&#10;&#10;Description automatically generated with medium confidence">
            <a:extLst>
              <a:ext uri="{FF2B5EF4-FFF2-40B4-BE49-F238E27FC236}">
                <a16:creationId xmlns:a16="http://schemas.microsoft.com/office/drawing/2014/main" id="{960E89B0-CA2F-597C-E5AE-F26E6B2818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778" y="1212903"/>
            <a:ext cx="5989661" cy="4930342"/>
          </a:xfrm>
          <a:prstGeom prst="rect">
            <a:avLst/>
          </a:prstGeom>
        </p:spPr>
      </p:pic>
      <p:pic>
        <p:nvPicPr>
          <p:cNvPr id="5" name="Picture 4" descr="A graph of a graph of energy efficiency&#10;&#10;Description automatically generated with medium confidence">
            <a:extLst>
              <a:ext uri="{FF2B5EF4-FFF2-40B4-BE49-F238E27FC236}">
                <a16:creationId xmlns:a16="http://schemas.microsoft.com/office/drawing/2014/main" id="{3B021F7B-EA2C-0653-CECF-A1D939C3E9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0" y="1212903"/>
            <a:ext cx="6048673" cy="4709915"/>
          </a:xfrm>
          <a:prstGeom prst="rect">
            <a:avLst/>
          </a:prstGeom>
        </p:spPr>
      </p:pic>
    </p:spTree>
    <p:custDataLst>
      <p:custData r:id="rId1"/>
      <p:custData r:id="rId2"/>
    </p:custDataLst>
    <p:extLst>
      <p:ext uri="{BB962C8B-B14F-4D97-AF65-F5344CB8AC3E}">
        <p14:creationId xmlns:p14="http://schemas.microsoft.com/office/powerpoint/2010/main" val="16544211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75E2-C184-4BB1-76EA-4128EFAF136E}"/>
              </a:ext>
            </a:extLst>
          </p:cNvPr>
          <p:cNvGraphicFramePr>
            <a:graphicFrameLocks noChangeAspect="1"/>
          </p:cNvGraphicFramePr>
          <p:nvPr>
            <p:custDataLst>
              <p:tags r:id="rId3"/>
            </p:custDataLst>
            <p:extLst>
              <p:ext uri="{D42A27DB-BD31-4B8C-83A1-F6EECF244321}">
                <p14:modId xmlns:p14="http://schemas.microsoft.com/office/powerpoint/2010/main" val="1629209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think-cell data - do not delete" hidden="1">
                        <a:extLst>
                          <a:ext uri="{FF2B5EF4-FFF2-40B4-BE49-F238E27FC236}">
                            <a16:creationId xmlns:a16="http://schemas.microsoft.com/office/drawing/2014/main" id="{81D475E2-C184-4BB1-76EA-4128EFAF13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8" y="0"/>
            <a:ext cx="11453919" cy="872838"/>
          </a:xfrm>
        </p:spPr>
        <p:txBody>
          <a:bodyPr vert="horz"/>
          <a:lstStyle/>
          <a:p>
            <a:r>
              <a:rPr lang="en-US" dirty="0"/>
              <a:t>Building grids at the rate required will be a step-change for many countrie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7</a:t>
            </a:fld>
            <a:endParaRPr lang="en-US" noProof="0" dirty="0"/>
          </a:p>
        </p:txBody>
      </p:sp>
      <p:pic>
        <p:nvPicPr>
          <p:cNvPr id="7" name="Picture 6" descr="A graph of growth in a graph&#10;&#10;Description automatically generated with medium confidence">
            <a:extLst>
              <a:ext uri="{FF2B5EF4-FFF2-40B4-BE49-F238E27FC236}">
                <a16:creationId xmlns:a16="http://schemas.microsoft.com/office/drawing/2014/main" id="{90E5208E-5A4E-2854-231E-BE05354A148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01318" y="879021"/>
            <a:ext cx="6629911" cy="5838559"/>
          </a:xfrm>
          <a:prstGeom prst="rect">
            <a:avLst/>
          </a:prstGeom>
        </p:spPr>
      </p:pic>
    </p:spTree>
    <p:custDataLst>
      <p:custData r:id="rId1"/>
      <p:custData r:id="rId2"/>
    </p:custDataLst>
    <p:extLst>
      <p:ext uri="{BB962C8B-B14F-4D97-AF65-F5344CB8AC3E}">
        <p14:creationId xmlns:p14="http://schemas.microsoft.com/office/powerpoint/2010/main" val="25042223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CFE9D1A-ADE1-24D4-D5E3-2D70E6C3D33B}"/>
              </a:ext>
            </a:extLst>
          </p:cNvPr>
          <p:cNvGraphicFramePr>
            <a:graphicFrameLocks noChangeAspect="1"/>
          </p:cNvGraphicFramePr>
          <p:nvPr>
            <p:custDataLst>
              <p:tags r:id="rId3"/>
            </p:custDataLst>
            <p:extLst>
              <p:ext uri="{D42A27DB-BD31-4B8C-83A1-F6EECF244321}">
                <p14:modId xmlns:p14="http://schemas.microsoft.com/office/powerpoint/2010/main" val="217745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3CFE9D1A-ADE1-24D4-D5E3-2D70E6C3D3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a:xfrm>
            <a:off x="366778" y="140420"/>
            <a:ext cx="11453919" cy="872838"/>
          </a:xfrm>
        </p:spPr>
        <p:txBody>
          <a:bodyPr vert="horz"/>
          <a:lstStyle/>
          <a:p>
            <a:r>
              <a:rPr lang="en-US" dirty="0"/>
              <a:t>Grid growth has lagged the rapid expansion of renewables</a:t>
            </a:r>
            <a:endParaRPr lang="en-GB" dirty="0"/>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8</a:t>
            </a:fld>
            <a:endParaRPr lang="en-US" noProof="0" dirty="0"/>
          </a:p>
        </p:txBody>
      </p:sp>
      <p:pic>
        <p:nvPicPr>
          <p:cNvPr id="5" name="Picture 4" descr="A close-up of a graph&#10;&#10;Description automatically generated">
            <a:extLst>
              <a:ext uri="{FF2B5EF4-FFF2-40B4-BE49-F238E27FC236}">
                <a16:creationId xmlns:a16="http://schemas.microsoft.com/office/drawing/2014/main" id="{2EDE3BD2-366F-1345-C2AF-87CFC000A99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17217" y="1069475"/>
            <a:ext cx="6953039" cy="5217198"/>
          </a:xfrm>
          <a:prstGeom prst="rect">
            <a:avLst/>
          </a:prstGeom>
        </p:spPr>
      </p:pic>
    </p:spTree>
    <p:custDataLst>
      <p:custData r:id="rId1"/>
      <p:custData r:id="rId2"/>
    </p:custDataLst>
    <p:extLst>
      <p:ext uri="{BB962C8B-B14F-4D97-AF65-F5344CB8AC3E}">
        <p14:creationId xmlns:p14="http://schemas.microsoft.com/office/powerpoint/2010/main" val="3246613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CFE9D1A-ADE1-24D4-D5E3-2D70E6C3D33B}"/>
              </a:ext>
            </a:extLst>
          </p:cNvPr>
          <p:cNvGraphicFramePr>
            <a:graphicFrameLocks noChangeAspect="1"/>
          </p:cNvGraphicFramePr>
          <p:nvPr>
            <p:custDataLst>
              <p:tags r:id="rId3"/>
            </p:custDataLst>
            <p:extLst>
              <p:ext uri="{D42A27DB-BD31-4B8C-83A1-F6EECF244321}">
                <p14:modId xmlns:p14="http://schemas.microsoft.com/office/powerpoint/2010/main" val="147142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think-cell data - do not delete" hidden="1">
                        <a:extLst>
                          <a:ext uri="{FF2B5EF4-FFF2-40B4-BE49-F238E27FC236}">
                            <a16:creationId xmlns:a16="http://schemas.microsoft.com/office/drawing/2014/main" id="{3CFE9D1A-ADE1-24D4-D5E3-2D70E6C3D3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5A3896-3BC9-67D6-B5AF-5718A0498A66}"/>
              </a:ext>
            </a:extLst>
          </p:cNvPr>
          <p:cNvSpPr>
            <a:spLocks noGrp="1"/>
          </p:cNvSpPr>
          <p:nvPr>
            <p:ph type="title"/>
          </p:nvPr>
        </p:nvSpPr>
        <p:spPr/>
        <p:txBody>
          <a:bodyPr vert="horz"/>
          <a:lstStyle/>
          <a:p>
            <a:r>
              <a:rPr lang="en-US" dirty="0"/>
              <a:t>Slow grid planning and approvals can hamper renewable deployment </a:t>
            </a:r>
            <a:endParaRPr lang="en-GB" dirty="0"/>
          </a:p>
        </p:txBody>
      </p:sp>
      <p:sp>
        <p:nvSpPr>
          <p:cNvPr id="9" name="Content Placeholder 8">
            <a:extLst>
              <a:ext uri="{FF2B5EF4-FFF2-40B4-BE49-F238E27FC236}">
                <a16:creationId xmlns:a16="http://schemas.microsoft.com/office/drawing/2014/main" id="{10743AC7-5261-E41B-E06B-5AB308ADCF4B}"/>
              </a:ext>
            </a:extLst>
          </p:cNvPr>
          <p:cNvSpPr>
            <a:spLocks noGrp="1"/>
          </p:cNvSpPr>
          <p:nvPr>
            <p:ph idx="1"/>
          </p:nvPr>
        </p:nvSpPr>
        <p:spPr>
          <a:xfrm>
            <a:off x="1499615" y="6263639"/>
            <a:ext cx="10313789" cy="452437"/>
          </a:xfrm>
        </p:spPr>
        <p:txBody>
          <a:bodyPr/>
          <a:lstStyle/>
          <a:p>
            <a:pPr marL="0" indent="0">
              <a:buNone/>
            </a:pPr>
            <a:r>
              <a:rPr lang="en-GB" sz="900" dirty="0"/>
              <a:t>Notes: Whilst the actual construction times of transmission lines generally only take 1-2 years, planning and permitting issues mean it commonly takes at least 10 years to complete construction. Often more transmission is required for renewable projects to connect to the grid, introducing further backlogs.</a:t>
            </a:r>
          </a:p>
        </p:txBody>
      </p:sp>
      <p:sp>
        <p:nvSpPr>
          <p:cNvPr id="4" name="Slide Number Placeholder 3">
            <a:extLst>
              <a:ext uri="{FF2B5EF4-FFF2-40B4-BE49-F238E27FC236}">
                <a16:creationId xmlns:a16="http://schemas.microsoft.com/office/drawing/2014/main" id="{6A618894-2469-A62C-CE3C-BEC8FB300574}"/>
              </a:ext>
            </a:extLst>
          </p:cNvPr>
          <p:cNvSpPr>
            <a:spLocks noGrp="1"/>
          </p:cNvSpPr>
          <p:nvPr>
            <p:ph type="sldNum" sz="quarter" idx="12"/>
          </p:nvPr>
        </p:nvSpPr>
        <p:spPr/>
        <p:txBody>
          <a:bodyPr/>
          <a:lstStyle/>
          <a:p>
            <a:fld id="{ABB6D191-819E-455F-BC39-F2381519C0C1}" type="slidenum">
              <a:rPr lang="en-US" noProof="0" smtClean="0"/>
              <a:t>9</a:t>
            </a:fld>
            <a:endParaRPr lang="en-US" noProof="0" dirty="0"/>
          </a:p>
        </p:txBody>
      </p:sp>
      <p:pic>
        <p:nvPicPr>
          <p:cNvPr id="8" name="Picture 7" descr="A graph showing a number of colored bars&#10;&#10;Description automatically generated with medium confidence">
            <a:extLst>
              <a:ext uri="{FF2B5EF4-FFF2-40B4-BE49-F238E27FC236}">
                <a16:creationId xmlns:a16="http://schemas.microsoft.com/office/drawing/2014/main" id="{87749FC8-2FFE-71CC-4B4B-43F340B2DA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51574" y="1459749"/>
            <a:ext cx="8294762" cy="4409322"/>
          </a:xfrm>
          <a:prstGeom prst="rect">
            <a:avLst/>
          </a:prstGeom>
        </p:spPr>
      </p:pic>
    </p:spTree>
    <p:custDataLst>
      <p:custData r:id="rId1"/>
      <p:custData r:id="rId2"/>
    </p:custDataLst>
    <p:extLst>
      <p:ext uri="{BB962C8B-B14F-4D97-AF65-F5344CB8AC3E}">
        <p14:creationId xmlns:p14="http://schemas.microsoft.com/office/powerpoint/2010/main" val="350563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TC">
  <a:themeElements>
    <a:clrScheme name="ETC_2020">
      <a:dk1>
        <a:srgbClr val="000000"/>
      </a:dk1>
      <a:lt1>
        <a:srgbClr val="FFFFFF"/>
      </a:lt1>
      <a:dk2>
        <a:srgbClr val="004876"/>
      </a:dk2>
      <a:lt2>
        <a:srgbClr val="FFFFFF"/>
      </a:lt2>
      <a:accent1>
        <a:srgbClr val="00A7B5"/>
      </a:accent1>
      <a:accent2>
        <a:srgbClr val="95D600"/>
      </a:accent2>
      <a:accent3>
        <a:srgbClr val="FFCD00"/>
      </a:accent3>
      <a:accent4>
        <a:srgbClr val="0D5257"/>
      </a:accent4>
      <a:accent5>
        <a:srgbClr val="CD545B"/>
      </a:accent5>
      <a:accent6>
        <a:srgbClr val="C6A992"/>
      </a:accent6>
      <a:hlink>
        <a:srgbClr val="40B4E5"/>
      </a:hlink>
      <a:folHlink>
        <a:srgbClr val="95D600"/>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rgbClr val="D5EE99"/>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400" dirty="0" err="1" smtClean="0">
            <a:ln>
              <a:noFill/>
            </a:ln>
            <a:solidFill>
              <a:schemeClr val="tx1">
                <a:lumMod val="85000"/>
                <a:lumOff val="15000"/>
              </a:schemeClr>
            </a:solidFill>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custClrLst>
    <a:custClr name="Primary Blue">
      <a:srgbClr val="004876"/>
    </a:custClr>
    <a:custClr name="Primary Green 1">
      <a:srgbClr val="95D600"/>
    </a:custClr>
    <a:custClr name="Primary Green 2">
      <a:srgbClr val="D5EE99"/>
    </a:custClr>
    <a:custClr name="Primary Green 3">
      <a:srgbClr val="EAF7CC"/>
    </a:custClr>
    <a:custClr name="Primary Yellow">
      <a:srgbClr val="FFCD00"/>
    </a:custClr>
    <a:custClr name="Primary Mint Blue">
      <a:srgbClr val="00A5B5"/>
    </a:custClr>
    <a:custClr name="Secondary 1">
      <a:srgbClr val="0D5257"/>
    </a:custClr>
    <a:custClr name="Secondary 2">
      <a:srgbClr val="CD545B"/>
    </a:custClr>
    <a:custClr name="Secondary 3">
      <a:srgbClr val="F0B323"/>
    </a:custClr>
    <a:custClr name="Secondary 4">
      <a:srgbClr val="4F758B"/>
    </a:custClr>
    <a:custClr name="Secondary 5">
      <a:srgbClr val="6399AE"/>
    </a:custClr>
    <a:custClr name="Secondary 6">
      <a:srgbClr val="B288B9"/>
    </a:custClr>
    <a:custClr name="Secondary 7">
      <a:srgbClr val="984857"/>
    </a:custClr>
    <a:custClr name="Secondary 8">
      <a:srgbClr val="572932"/>
    </a:custClr>
    <a:custClr name="Secondary 9">
      <a:srgbClr val="F0E991"/>
    </a:custClr>
    <a:custClr name="Secondary 10">
      <a:srgbClr val="E59E6D"/>
    </a:custClr>
    <a:custClr name="Secondary 11">
      <a:srgbClr val="71CC98"/>
    </a:custClr>
    <a:custClr name="Secondary 12">
      <a:srgbClr val="C6A992"/>
    </a:custClr>
    <a:custClr name="Shipping Sector">
      <a:srgbClr val="0D5257"/>
    </a:custClr>
    <a:custClr name="Aviation Sector">
      <a:srgbClr val="CD545B"/>
    </a:custClr>
    <a:custClr name="Heavy Road Sector">
      <a:srgbClr val="4F758B"/>
    </a:custClr>
    <a:custClr name="Light Road Sector">
      <a:srgbClr val="6399AE"/>
    </a:custClr>
    <a:custClr name="Rail Sector">
      <a:srgbClr val="B288B9"/>
    </a:custClr>
    <a:custClr name="Agriculture Sector">
      <a:srgbClr val="71CC98"/>
    </a:custClr>
    <a:custClr name="Heating Sector">
      <a:srgbClr val="F0E991"/>
    </a:custClr>
    <a:custClr name="Non-Heating Sector">
      <a:srgbClr val="F0B323"/>
    </a:custClr>
    <a:custClr name="Steel Sector">
      <a:srgbClr val="C6A992"/>
    </a:custClr>
    <a:custClr name="Cement Sector">
      <a:srgbClr val="984857"/>
    </a:custClr>
    <a:custClr name="Aluminium Sector">
      <a:srgbClr val="572932"/>
    </a:custClr>
    <a:custClr name="Chemicals Sector">
      <a:srgbClr val="E59E6D"/>
    </a:custClr>
    <a:custClr name="Other Sectors">
      <a:srgbClr val="E3E3E3"/>
    </a:custClr>
    <a:custClr name="Hydrogen and hydrogen based fuels">
      <a:srgbClr val="E59E6D"/>
    </a:custClr>
    <a:custClr name="Hydrogen">
      <a:srgbClr val="E59E6D"/>
    </a:custClr>
    <a:custClr name="Ammonia">
      <a:srgbClr val="CD545B"/>
    </a:custClr>
    <a:custClr name="Synfuels">
      <a:srgbClr val="B288B9"/>
    </a:custClr>
    <a:custClr name="Fossil Fuels">
      <a:srgbClr val="984857"/>
    </a:custClr>
    <a:custClr name="Natural Gas">
      <a:srgbClr val="C6A992"/>
    </a:custClr>
    <a:custClr name="Oil">
      <a:srgbClr val="984857"/>
    </a:custClr>
    <a:custClr name="Coal">
      <a:srgbClr val="572932"/>
    </a:custClr>
    <a:custClr name="Bio-based">
      <a:srgbClr val="0D5257"/>
    </a:custClr>
    <a:custClr name="Biofeedstock">
      <a:srgbClr val="0D5257"/>
    </a:custClr>
    <a:custClr name="Bioenergy">
      <a:srgbClr val="71CC98"/>
    </a:custClr>
    <a:custClr name="Zero carbon power">
      <a:srgbClr val="6399AE"/>
    </a:custClr>
    <a:custClr name="Solar PV">
      <a:srgbClr val="F0B323"/>
    </a:custClr>
    <a:custClr name="Nuclear">
      <a:srgbClr val="F0E991"/>
    </a:custClr>
    <a:custClr name="Hydro">
      <a:srgbClr val="6399AE"/>
    </a:custClr>
    <a:custClr name="Windpower">
      <a:srgbClr val="4F758B"/>
    </a:custClr>
  </a:custClrLst>
  <a:extLst>
    <a:ext uri="{05A4C25C-085E-4340-85A3-A5531E510DB2}">
      <thm15:themeFamily xmlns:thm15="http://schemas.microsoft.com/office/thememl/2012/main" name="Presentation1" id="{DC585643-8C06-4F33-959C-7F12F1589ECF}" vid="{F5BD542E-8628-410A-9D10-69D55219A3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637951115614120199","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637951115614120199","enableDocumentContentUpdater":false,"version":"2.0"}]]></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637951115614120199","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slideVersion":1,"isValidatorEnabled":false,"isLocked":false,"elementsMetadata":[],"slideId":"637951115614120199","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637951115614120199","enableDocumentContentUpdater":false,"version":"2.0"}]]></TemplafySlideTemplateConfiguration>
</file>

<file path=customXml/item19.xml><?xml version="1.0" encoding="utf-8"?>
<TemplafySlideTemplateConfiguration><![CDATA[{"slideVersion":1,"isValidatorEnabled":false,"isLocked":false,"elementsMetadata":[],"slideId":"637951115614120199","enableDocumentContentUpdater":false,"version":"2.0"}]]></TemplafySlideTemplateConfiguration>
</file>

<file path=customXml/item2.xml><?xml version="1.0" encoding="utf-8"?>
<ct:contentTypeSchema xmlns:ct="http://schemas.microsoft.com/office/2006/metadata/contentType" xmlns:ma="http://schemas.microsoft.com/office/2006/metadata/properties/metaAttributes" ct:_="" ma:_="" ma:contentTypeName="Document" ma:contentTypeID="0x010100FCCDD6E6CA2F5B44A1514221FA900CB8" ma:contentTypeVersion="15" ma:contentTypeDescription="Create a new document." ma:contentTypeScope="" ma:versionID="266f0a4dc149496e4b7a5ce224b58891">
  <xsd:schema xmlns:xsd="http://www.w3.org/2001/XMLSchema" xmlns:xs="http://www.w3.org/2001/XMLSchema" xmlns:p="http://schemas.microsoft.com/office/2006/metadata/properties" xmlns:ns2="0b81b9ab-ce3e-4e53-a6e1-db2c872d8d85" xmlns:ns3="f6f44a7d-d6f5-4042-8792-19cb5f90fb06" targetNamespace="http://schemas.microsoft.com/office/2006/metadata/properties" ma:root="true" ma:fieldsID="d0d514c133d3442d4d107d49e6784fbb" ns2:_="" ns3:_="">
    <xsd:import namespace="0b81b9ab-ce3e-4e53-a6e1-db2c872d8d85"/>
    <xsd:import namespace="f6f44a7d-d6f5-4042-8792-19cb5f90fb0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81b9ab-ce3e-4e53-a6e1-db2c872d8d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fd27762-0251-4a48-b483-e1f79c0a654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6f44a7d-d6f5-4042-8792-19cb5f90fb06"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f1cb957-661d-4683-93b6-7eb55a432899}" ma:internalName="TaxCatchAll" ma:showField="CatchAllData" ma:web="f6f44a7d-d6f5-4042-8792-19cb5f90fb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637951115614120199","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637951115614120199","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TemplateConfiguration><![CDATA[{"slideVersion":1,"isValidatorEnabled":false,"isLocked":false,"elementsMetadata":[],"slideId":"637951115614120199","enableDocumentContentUpdater":false,"version":"2.0"}]]></TemplafySlideTemplateConfiguration>
</file>

<file path=customXml/item27.xml><?xml version="1.0" encoding="utf-8"?>
<TemplafySlideFormConfiguration><![CDATA[{"formFields":[],"formDataEntries":[]}]]></TemplafySlideFormConfiguration>
</file>

<file path=customXml/item28.xml><?xml version="1.0" encoding="utf-8"?>
<TemplafySlideTemplateConfiguration><![CDATA[{"slideVersion":1,"isValidatorEnabled":false,"isLocked":false,"elementsMetadata":[],"slideId":"637951115614120199","enableDocumentContentUpdater":false,"version":"2.0"}]]></TemplafySlideTemplateConfiguration>
</file>

<file path=customXml/item29.xml><?xml version="1.0" encoding="utf-8"?>
<TemplafySlideFormConfiguration><![CDATA[{"formFields":[],"formDataEntries":[]}]]></TemplafySlideFormConfiguration>
</file>

<file path=customXml/item3.xml><?xml version="1.0" encoding="utf-8"?>
<TemplafyFormConfiguration><![CDATA[{"formFields":[],"formDataEntries":[]}]]></TemplafyFormConfiguration>
</file>

<file path=customXml/item30.xml><?xml version="1.0" encoding="utf-8"?>
<TemplafySlideTemplateConfiguration><![CDATA[{"slideVersion":1,"isValidatorEnabled":false,"isLocked":false,"elementsMetadata":[],"slideId":"637951115614120199","enableDocumentContentUpdater":false,"version":"2.0"}]]></TemplafySlideTemplate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637951115614120199","enableDocumentContentUpdater":false,"version":"2.0"}]]></TemplafySlideTemplateConfiguration>
</file>

<file path=customXml/item33.xml><?xml version="1.0" encoding="utf-8"?>
<TemplafySlideFormConfiguration><![CDATA[{"formFields":[],"formDataEntries":[]}]]></TemplafySlideFormConfiguration>
</file>

<file path=customXml/item34.xml><?xml version="1.0" encoding="utf-8"?>
<TemplafySlideTemplateConfiguration><![CDATA[{"slideVersion":1,"isValidatorEnabled":false,"isLocked":false,"elementsMetadata":[],"slideId":"637951115614120199","enableDocumentContentUpdater":false,"version":"2.0"}]]></TemplafySlideTemplateConfiguration>
</file>

<file path=customXml/item35.xml><?xml version="1.0" encoding="utf-8"?>
<TemplafySlideTemplateConfiguration><![CDATA[{"slideVersion":1,"isValidatorEnabled":false,"isLocked":false,"elementsMetadata":[],"slideId":"637951115614120199","enableDocumentContentUpdater":false,"version":"2.0"}]]></TemplafySlideTemplateConfiguration>
</file>

<file path=customXml/item36.xml><?xml version="1.0" encoding="utf-8"?>
<TemplafySlideFormConfiguration><![CDATA[{"formFields":[],"formDataEntries":[]}]]></TemplafySlideForm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SharedWithUsers xmlns="f6f44a7d-d6f5-4042-8792-19cb5f90fb06">
      <UserInfo>
        <DisplayName>Ita Kettleborough</DisplayName>
        <AccountId>11318</AccountId>
        <AccountType/>
      </UserInfo>
      <UserInfo>
        <DisplayName>Hettie Morrison</DisplayName>
        <AccountId>3623</AccountId>
        <AccountType/>
      </UserInfo>
      <UserInfo>
        <DisplayName>Janike Reichmann</DisplayName>
        <AccountId>63</AccountId>
        <AccountType/>
      </UserInfo>
      <UserInfo>
        <DisplayName>Elizabeth Lam</DisplayName>
        <AccountId>39062</AccountId>
        <AccountType/>
      </UserInfo>
    </SharedWithUsers>
    <TaxCatchAll xmlns="f6f44a7d-d6f5-4042-8792-19cb5f90fb06" xsi:nil="true"/>
    <lcf76f155ced4ddcb4097134ff3c332f xmlns="0b81b9ab-ce3e-4e53-a6e1-db2c872d8d85">
      <Terms xmlns="http://schemas.microsoft.com/office/infopath/2007/PartnerControls"/>
    </lcf76f155ced4ddcb4097134ff3c332f>
  </documentManagement>
</p:properties>
</file>

<file path=customXml/item6.xml><?xml version="1.0" encoding="utf-8"?>
<TemplafyTemplateConfiguration><![CDATA[{"elementsMetadata":[],"transformationConfigurations":[],"templateName":"Energy Transitions Commission","templateDescription":"","enableDocumentContentUpdater":false,"version":"2.0"}]]></TemplafyTemplateConfiguration>
</file>

<file path=customXml/item7.xml><?xml version="1.0" encoding="utf-8"?>
<TemplafySlideTemplateConfiguration><![CDATA[{"slideVersion":1,"isValidatorEnabled":false,"isLocked":false,"elementsMetadata":[],"slideId":"637951115613718810","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10A07707-F815-4F5C-884F-1F8DB1873E27}">
  <ds:schemaRefs/>
</ds:datastoreItem>
</file>

<file path=customXml/itemProps10.xml><?xml version="1.0" encoding="utf-8"?>
<ds:datastoreItem xmlns:ds="http://schemas.openxmlformats.org/officeDocument/2006/customXml" ds:itemID="{8B7271AE-3BC3-44D7-BBC9-0A86429D096C}">
  <ds:schemaRefs/>
</ds:datastoreItem>
</file>

<file path=customXml/itemProps11.xml><?xml version="1.0" encoding="utf-8"?>
<ds:datastoreItem xmlns:ds="http://schemas.openxmlformats.org/officeDocument/2006/customXml" ds:itemID="{E50C37F3-E53F-43D4-9BFF-9E6DD41A3A79}">
  <ds:schemaRefs/>
</ds:datastoreItem>
</file>

<file path=customXml/itemProps12.xml><?xml version="1.0" encoding="utf-8"?>
<ds:datastoreItem xmlns:ds="http://schemas.openxmlformats.org/officeDocument/2006/customXml" ds:itemID="{98D769A9-6926-4E61-BD6A-6E263EF4538A}">
  <ds:schemaRefs/>
</ds:datastoreItem>
</file>

<file path=customXml/itemProps13.xml><?xml version="1.0" encoding="utf-8"?>
<ds:datastoreItem xmlns:ds="http://schemas.openxmlformats.org/officeDocument/2006/customXml" ds:itemID="{D6A9A91D-FC51-4097-970D-D9EFE8C3B9B8}">
  <ds:schemaRefs/>
</ds:datastoreItem>
</file>

<file path=customXml/itemProps14.xml><?xml version="1.0" encoding="utf-8"?>
<ds:datastoreItem xmlns:ds="http://schemas.openxmlformats.org/officeDocument/2006/customXml" ds:itemID="{4BE4BCEA-5B92-470E-85CD-6E7636AAE41E}">
  <ds:schemaRefs/>
</ds:datastoreItem>
</file>

<file path=customXml/itemProps15.xml><?xml version="1.0" encoding="utf-8"?>
<ds:datastoreItem xmlns:ds="http://schemas.openxmlformats.org/officeDocument/2006/customXml" ds:itemID="{38B6BB96-337C-40E9-B63E-CB15004205A5}">
  <ds:schemaRefs/>
</ds:datastoreItem>
</file>

<file path=customXml/itemProps16.xml><?xml version="1.0" encoding="utf-8"?>
<ds:datastoreItem xmlns:ds="http://schemas.openxmlformats.org/officeDocument/2006/customXml" ds:itemID="{A8E43D42-31B0-4365-AB76-7017BF771856}">
  <ds:schemaRefs/>
</ds:datastoreItem>
</file>

<file path=customXml/itemProps17.xml><?xml version="1.0" encoding="utf-8"?>
<ds:datastoreItem xmlns:ds="http://schemas.openxmlformats.org/officeDocument/2006/customXml" ds:itemID="{6EB1934E-AAEB-4733-A7C4-A21E25212BF8}">
  <ds:schemaRefs/>
</ds:datastoreItem>
</file>

<file path=customXml/itemProps18.xml><?xml version="1.0" encoding="utf-8"?>
<ds:datastoreItem xmlns:ds="http://schemas.openxmlformats.org/officeDocument/2006/customXml" ds:itemID="{4F778DF5-8756-43BA-A6AE-B12EB5EF8CEA}">
  <ds:schemaRefs/>
</ds:datastoreItem>
</file>

<file path=customXml/itemProps19.xml><?xml version="1.0" encoding="utf-8"?>
<ds:datastoreItem xmlns:ds="http://schemas.openxmlformats.org/officeDocument/2006/customXml" ds:itemID="{75E5CCC7-D77F-4D49-A414-20F8412722AF}">
  <ds:schemaRefs/>
</ds:datastoreItem>
</file>

<file path=customXml/itemProps2.xml><?xml version="1.0" encoding="utf-8"?>
<ds:datastoreItem xmlns:ds="http://schemas.openxmlformats.org/officeDocument/2006/customXml" ds:itemID="{B4505B20-D981-40C9-9EAD-F4AB1CA0E4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81b9ab-ce3e-4e53-a6e1-db2c872d8d85"/>
    <ds:schemaRef ds:uri="f6f44a7d-d6f5-4042-8792-19cb5f90fb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384BF738-1F25-4872-8DD5-B8A59ED386EE}">
  <ds:schemaRefs/>
</ds:datastoreItem>
</file>

<file path=customXml/itemProps21.xml><?xml version="1.0" encoding="utf-8"?>
<ds:datastoreItem xmlns:ds="http://schemas.openxmlformats.org/officeDocument/2006/customXml" ds:itemID="{628EF0E7-79E7-478D-9671-B830F9A1E441}">
  <ds:schemaRefs/>
</ds:datastoreItem>
</file>

<file path=customXml/itemProps22.xml><?xml version="1.0" encoding="utf-8"?>
<ds:datastoreItem xmlns:ds="http://schemas.openxmlformats.org/officeDocument/2006/customXml" ds:itemID="{8D2E9FED-7CB7-4516-92E7-14A016E3DB95}">
  <ds:schemaRefs/>
</ds:datastoreItem>
</file>

<file path=customXml/itemProps23.xml><?xml version="1.0" encoding="utf-8"?>
<ds:datastoreItem xmlns:ds="http://schemas.openxmlformats.org/officeDocument/2006/customXml" ds:itemID="{7DB494CB-3F28-46FB-BD75-CC7C02547C6B}">
  <ds:schemaRefs/>
</ds:datastoreItem>
</file>

<file path=customXml/itemProps24.xml><?xml version="1.0" encoding="utf-8"?>
<ds:datastoreItem xmlns:ds="http://schemas.openxmlformats.org/officeDocument/2006/customXml" ds:itemID="{F9C53238-2AA4-4E22-B1C1-CBC552400D51}">
  <ds:schemaRefs/>
</ds:datastoreItem>
</file>

<file path=customXml/itemProps25.xml><?xml version="1.0" encoding="utf-8"?>
<ds:datastoreItem xmlns:ds="http://schemas.openxmlformats.org/officeDocument/2006/customXml" ds:itemID="{6B0CA5C3-17A9-4D2F-A293-706FEC9CB554}">
  <ds:schemaRefs/>
</ds:datastoreItem>
</file>

<file path=customXml/itemProps26.xml><?xml version="1.0" encoding="utf-8"?>
<ds:datastoreItem xmlns:ds="http://schemas.openxmlformats.org/officeDocument/2006/customXml" ds:itemID="{0AB4E89D-47D3-42BD-AD8E-03C2A840D837}">
  <ds:schemaRefs/>
</ds:datastoreItem>
</file>

<file path=customXml/itemProps27.xml><?xml version="1.0" encoding="utf-8"?>
<ds:datastoreItem xmlns:ds="http://schemas.openxmlformats.org/officeDocument/2006/customXml" ds:itemID="{F255B645-93EF-45D3-ACB4-9C11F76ADA43}">
  <ds:schemaRefs/>
</ds:datastoreItem>
</file>

<file path=customXml/itemProps28.xml><?xml version="1.0" encoding="utf-8"?>
<ds:datastoreItem xmlns:ds="http://schemas.openxmlformats.org/officeDocument/2006/customXml" ds:itemID="{750B1335-11BE-4B38-9541-F5B9163D36EA}">
  <ds:schemaRefs/>
</ds:datastoreItem>
</file>

<file path=customXml/itemProps29.xml><?xml version="1.0" encoding="utf-8"?>
<ds:datastoreItem xmlns:ds="http://schemas.openxmlformats.org/officeDocument/2006/customXml" ds:itemID="{7FCF6132-6DD1-4113-A6A8-D443C979917D}">
  <ds:schemaRefs/>
</ds:datastoreItem>
</file>

<file path=customXml/itemProps3.xml><?xml version="1.0" encoding="utf-8"?>
<ds:datastoreItem xmlns:ds="http://schemas.openxmlformats.org/officeDocument/2006/customXml" ds:itemID="{0BFC180D-0FF6-40EF-BFD5-1E7E2F1E5271}">
  <ds:schemaRefs/>
</ds:datastoreItem>
</file>

<file path=customXml/itemProps30.xml><?xml version="1.0" encoding="utf-8"?>
<ds:datastoreItem xmlns:ds="http://schemas.openxmlformats.org/officeDocument/2006/customXml" ds:itemID="{062700F5-F95D-49E6-B9A6-8AF093B847F1}">
  <ds:schemaRefs/>
</ds:datastoreItem>
</file>

<file path=customXml/itemProps31.xml><?xml version="1.0" encoding="utf-8"?>
<ds:datastoreItem xmlns:ds="http://schemas.openxmlformats.org/officeDocument/2006/customXml" ds:itemID="{DBCA2543-0FBE-4FBC-848F-CA081184EBC4}">
  <ds:schemaRefs/>
</ds:datastoreItem>
</file>

<file path=customXml/itemProps32.xml><?xml version="1.0" encoding="utf-8"?>
<ds:datastoreItem xmlns:ds="http://schemas.openxmlformats.org/officeDocument/2006/customXml" ds:itemID="{704E36E4-CE2E-4155-A0B9-9586B41BD097}">
  <ds:schemaRefs/>
</ds:datastoreItem>
</file>

<file path=customXml/itemProps33.xml><?xml version="1.0" encoding="utf-8"?>
<ds:datastoreItem xmlns:ds="http://schemas.openxmlformats.org/officeDocument/2006/customXml" ds:itemID="{A1B410C0-7D86-4190-BF0D-501B60691349}">
  <ds:schemaRefs/>
</ds:datastoreItem>
</file>

<file path=customXml/itemProps34.xml><?xml version="1.0" encoding="utf-8"?>
<ds:datastoreItem xmlns:ds="http://schemas.openxmlformats.org/officeDocument/2006/customXml" ds:itemID="{7C75CF72-035C-4D29-A21C-21D2C4519CC2}">
  <ds:schemaRefs/>
</ds:datastoreItem>
</file>

<file path=customXml/itemProps35.xml><?xml version="1.0" encoding="utf-8"?>
<ds:datastoreItem xmlns:ds="http://schemas.openxmlformats.org/officeDocument/2006/customXml" ds:itemID="{52BA4EE1-4061-4D2C-9D12-D903392DEA38}">
  <ds:schemaRefs/>
</ds:datastoreItem>
</file>

<file path=customXml/itemProps36.xml><?xml version="1.0" encoding="utf-8"?>
<ds:datastoreItem xmlns:ds="http://schemas.openxmlformats.org/officeDocument/2006/customXml" ds:itemID="{6BB58C65-8245-428A-89E0-ED5714F35F1B}">
  <ds:schemaRefs/>
</ds:datastoreItem>
</file>

<file path=customXml/itemProps4.xml><?xml version="1.0" encoding="utf-8"?>
<ds:datastoreItem xmlns:ds="http://schemas.openxmlformats.org/officeDocument/2006/customXml" ds:itemID="{C048A2B8-0D32-47C1-A2E6-CEEAF938EB41}">
  <ds:schemaRefs>
    <ds:schemaRef ds:uri="http://schemas.microsoft.com/sharepoint/v3/contenttype/forms"/>
  </ds:schemaRefs>
</ds:datastoreItem>
</file>

<file path=customXml/itemProps5.xml><?xml version="1.0" encoding="utf-8"?>
<ds:datastoreItem xmlns:ds="http://schemas.openxmlformats.org/officeDocument/2006/customXml" ds:itemID="{27C08B54-9747-4C91-A42B-F433D47C910B}">
  <ds:schemaRefs>
    <ds:schemaRef ds:uri="http://schemas.microsoft.com/office/2006/metadata/properties"/>
    <ds:schemaRef ds:uri="http://www.w3.org/XML/1998/namespace"/>
    <ds:schemaRef ds:uri="http://schemas.microsoft.com/office/2006/documentManagement/types"/>
    <ds:schemaRef ds:uri="f6f44a7d-d6f5-4042-8792-19cb5f90fb06"/>
    <ds:schemaRef ds:uri="http://purl.org/dc/elements/1.1/"/>
    <ds:schemaRef ds:uri="http://purl.org/dc/dcmitype/"/>
    <ds:schemaRef ds:uri="http://schemas.microsoft.com/office/infopath/2007/PartnerControls"/>
    <ds:schemaRef ds:uri="http://schemas.openxmlformats.org/package/2006/metadata/core-properties"/>
    <ds:schemaRef ds:uri="e786cbd6-d525-482f-9deb-ef58896afe06"/>
    <ds:schemaRef ds:uri="http://purl.org/dc/terms/"/>
    <ds:schemaRef ds:uri="0b81b9ab-ce3e-4e53-a6e1-db2c872d8d85"/>
  </ds:schemaRefs>
</ds:datastoreItem>
</file>

<file path=customXml/itemProps6.xml><?xml version="1.0" encoding="utf-8"?>
<ds:datastoreItem xmlns:ds="http://schemas.openxmlformats.org/officeDocument/2006/customXml" ds:itemID="{6AF7326B-7F63-4187-AD92-2D21D526A927}">
  <ds:schemaRefs/>
</ds:datastoreItem>
</file>

<file path=customXml/itemProps7.xml><?xml version="1.0" encoding="utf-8"?>
<ds:datastoreItem xmlns:ds="http://schemas.openxmlformats.org/officeDocument/2006/customXml" ds:itemID="{A155498C-B861-4A30-9B0C-66A40D200135}">
  <ds:schemaRefs/>
</ds:datastoreItem>
</file>

<file path=customXml/itemProps8.xml><?xml version="1.0" encoding="utf-8"?>
<ds:datastoreItem xmlns:ds="http://schemas.openxmlformats.org/officeDocument/2006/customXml" ds:itemID="{5991063E-731F-4C8B-AD3C-55C0C31DC399}">
  <ds:schemaRefs/>
</ds:datastoreItem>
</file>

<file path=customXml/itemProps9.xml><?xml version="1.0" encoding="utf-8"?>
<ds:datastoreItem xmlns:ds="http://schemas.openxmlformats.org/officeDocument/2006/customXml" ds:itemID="{DE3FBDDA-5E4E-48A8-8651-D1EF8448D26F}">
  <ds:schemaRefs/>
</ds:datastoreItem>
</file>

<file path=docProps/app.xml><?xml version="1.0" encoding="utf-8"?>
<Properties xmlns="http://schemas.openxmlformats.org/officeDocument/2006/extended-properties" xmlns:vt="http://schemas.openxmlformats.org/officeDocument/2006/docPropsVTypes">
  <Template>ETC4</Template>
  <TotalTime>0</TotalTime>
  <Words>332</Words>
  <Application>Microsoft Office PowerPoint</Application>
  <PresentationFormat>Widescreen</PresentationFormat>
  <Paragraphs>31</Paragraphs>
  <Slides>1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Century Gothic</vt:lpstr>
      <vt:lpstr>Calibri</vt:lpstr>
      <vt:lpstr>Inter</vt:lpstr>
      <vt:lpstr>Lato</vt:lpstr>
      <vt:lpstr>Arial</vt:lpstr>
      <vt:lpstr>Verdana</vt:lpstr>
      <vt:lpstr>ETC</vt:lpstr>
      <vt:lpstr>think-cell Slide</vt:lpstr>
      <vt:lpstr>Building Grids Faster: the Backbone of the Energy Transition Key Messages</vt:lpstr>
      <vt:lpstr>The trajectory to net-zero will require significantly higher electricity use across the world to 2050</vt:lpstr>
      <vt:lpstr>The way that electricity is generated and consumed is changing, moving to a more dispersed system</vt:lpstr>
      <vt:lpstr>Grids will evolve to become more complex and flexible in a system dominated by clean electrification</vt:lpstr>
      <vt:lpstr>The size of the grid will need to grow by over 50% by 2050 to meet net-zero trajectories</vt:lpstr>
      <vt:lpstr>Grid investment needs to rise rapidly from ~$300 billion p.a. today to ~800 billion p.a. in 2050, across new connections, system reinforcements and asset replacements</vt:lpstr>
      <vt:lpstr>Building grids at the rate required will be a step-change for many countries</vt:lpstr>
      <vt:lpstr>Grid growth has lagged the rapid expansion of renewables</vt:lpstr>
      <vt:lpstr>Slow grid planning and approvals can hamper renewable deployment </vt:lpstr>
      <vt:lpstr>Lack of grid capacity is having significant consequences, including delaying  renewable connections and increasing system costs via congestion payments</vt:lpstr>
      <vt:lpstr>Failing to build grids at speed required will block large volumes of cheap,  clean renewables coming online – locking in higher emissions and costs</vt:lpstr>
      <vt:lpstr>To accelerate the pace and scale of build policymakers and industry must take action across four critical areas.</vt:lpstr>
      <vt:lpstr>A strategic vision for grids and generation, coordinated across key  stakeholders and supported by clear data is needed</vt:lpstr>
      <vt:lpstr>Building wires underground may help address societal support challenge,  but comes at a cost 7 times that of above ground wires</vt:lpstr>
      <vt:lpstr>Financing structures should be reformed and routes to access finance improv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C PowerPoint template</dc:title>
  <dc:creator>Caroline Randle</dc:creator>
  <cp:lastModifiedBy>Elena Pravettoni</cp:lastModifiedBy>
  <cp:revision>14</cp:revision>
  <dcterms:created xsi:type="dcterms:W3CDTF">2024-09-16T11:45:35Z</dcterms:created>
  <dcterms:modified xsi:type="dcterms:W3CDTF">2024-10-01T12:4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emplafyTimeStamp">
    <vt:lpwstr>2022-08-03T08:19:21</vt:lpwstr>
  </property>
  <property fmtid="{D5CDD505-2E9C-101B-9397-08002B2CF9AE}" pid="4" name="TemplafyTenantId">
    <vt:lpwstr>systemiq</vt:lpwstr>
  </property>
  <property fmtid="{D5CDD505-2E9C-101B-9397-08002B2CF9AE}" pid="5" name="TemplafyTemplateId">
    <vt:lpwstr>637195437863967230</vt:lpwstr>
  </property>
  <property fmtid="{D5CDD505-2E9C-101B-9397-08002B2CF9AE}" pid="6" name="TemplafyUserProfileId">
    <vt:lpwstr>885708869692031097</vt:lpwstr>
  </property>
  <property fmtid="{D5CDD505-2E9C-101B-9397-08002B2CF9AE}" pid="7" name="TemplafyFromBlank">
    <vt:bool>false</vt:bool>
  </property>
  <property fmtid="{D5CDD505-2E9C-101B-9397-08002B2CF9AE}" pid="8" name="ContentTypeId">
    <vt:lpwstr>0x010100FCCDD6E6CA2F5B44A1514221FA900CB8</vt:lpwstr>
  </property>
</Properties>
</file>